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notesSlides/notesSlide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3.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4.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 id="2147485253" r:id="rId3"/>
    <p:sldMasterId id="2147485321" r:id="rId4"/>
    <p:sldMasterId id="2147485389" r:id="rId5"/>
  </p:sldMasterIdLst>
  <p:notesMasterIdLst>
    <p:notesMasterId r:id="rId22"/>
  </p:notesMasterIdLst>
  <p:handoutMasterIdLst>
    <p:handoutMasterId r:id="rId23"/>
  </p:handoutMasterIdLst>
  <p:sldIdLst>
    <p:sldId id="279" r:id="rId6"/>
    <p:sldId id="293" r:id="rId7"/>
    <p:sldId id="294" r:id="rId8"/>
    <p:sldId id="295" r:id="rId9"/>
    <p:sldId id="299" r:id="rId10"/>
    <p:sldId id="283" r:id="rId11"/>
    <p:sldId id="287" r:id="rId12"/>
    <p:sldId id="288" r:id="rId13"/>
    <p:sldId id="296" r:id="rId14"/>
    <p:sldId id="291" r:id="rId15"/>
    <p:sldId id="292" r:id="rId16"/>
    <p:sldId id="300" r:id="rId17"/>
    <p:sldId id="289" r:id="rId18"/>
    <p:sldId id="285" r:id="rId19"/>
    <p:sldId id="298" r:id="rId20"/>
    <p:sldId id="260"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11" autoAdjust="0"/>
    <p:restoredTop sz="96323" autoAdjust="0"/>
  </p:normalViewPr>
  <p:slideViewPr>
    <p:cSldViewPr snapToGrid="0">
      <p:cViewPr varScale="1">
        <p:scale>
          <a:sx n="128" d="100"/>
          <a:sy n="128" d="100"/>
        </p:scale>
        <p:origin x="744"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hyperlink" Target="https://javascript.plainenglish.io/5-dry-principles-to-follow-in-react-6ca0405986a9" TargetMode="External"/><Relationship Id="rId2" Type="http://schemas.openxmlformats.org/officeDocument/2006/relationships/hyperlink" Target="https://medium.com/the-andela-way/reactjs-the-art-of-reusable-components-5b67359e8ebb" TargetMode="External"/><Relationship Id="rId1" Type="http://schemas.openxmlformats.org/officeDocument/2006/relationships/hyperlink" Target="https://medium.com/swlh/how-to-write-great-react-c4f23f2f3f4f" TargetMode="External"/><Relationship Id="rId6" Type="http://schemas.openxmlformats.org/officeDocument/2006/relationships/hyperlink" Target="https://www.freecodecamp.org/news/a-better-way-to-structure-react-projects/" TargetMode="External"/><Relationship Id="rId5" Type="http://schemas.openxmlformats.org/officeDocument/2006/relationships/hyperlink" Target="https://airbnb.io/javascript/react/#naming" TargetMode="External"/><Relationship Id="rId4" Type="http://schemas.openxmlformats.org/officeDocument/2006/relationships/hyperlink" Target="https://towardsdatascience.com/react-best-practices-804def6d5215#d915"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javascript.plainenglish.io/5-dry-principles-to-follow-in-react-6ca0405986a9" TargetMode="External"/><Relationship Id="rId2" Type="http://schemas.openxmlformats.org/officeDocument/2006/relationships/hyperlink" Target="https://medium.com/the-andela-way/reactjs-the-art-of-reusable-components-5b67359e8ebb" TargetMode="External"/><Relationship Id="rId1" Type="http://schemas.openxmlformats.org/officeDocument/2006/relationships/hyperlink" Target="https://medium.com/swlh/how-to-write-great-react-c4f23f2f3f4f" TargetMode="External"/><Relationship Id="rId6" Type="http://schemas.openxmlformats.org/officeDocument/2006/relationships/hyperlink" Target="https://www.freecodecamp.org/news/a-better-way-to-structure-react-projects/" TargetMode="External"/><Relationship Id="rId5" Type="http://schemas.openxmlformats.org/officeDocument/2006/relationships/hyperlink" Target="https://airbnb.io/javascript/react/#naming" TargetMode="External"/><Relationship Id="rId4" Type="http://schemas.openxmlformats.org/officeDocument/2006/relationships/hyperlink" Target="https://towardsdatascience.com/react-best-practices-804def6d5215#d915"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CEF278-0DB7-418F-9B32-0CA2DE685F98}"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C8286726-14CA-430F-82D3-3055859FF7BC}">
      <dgm:prSet custT="1"/>
      <dgm:spPr/>
      <dgm:t>
        <a:bodyPr/>
        <a:lstStyle/>
        <a:p>
          <a:r>
            <a:rPr lang="en-US" sz="1600" kern="1200" dirty="0">
              <a:solidFill>
                <a:prstClr val="white"/>
              </a:solidFill>
              <a:latin typeface="Trebuchet MS"/>
              <a:ea typeface="+mn-ea"/>
              <a:cs typeface="+mn-cs"/>
            </a:rPr>
            <a:t>Keep components small and function specific. (</a:t>
          </a:r>
          <a:r>
            <a:rPr lang="en-US" sz="1600" b="1" kern="1200" dirty="0">
              <a:solidFill>
                <a:schemeClr val="bg1"/>
              </a:solidFill>
              <a:latin typeface="Trebuchet MS"/>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F364CF5D-E032-40F9-922B-DBEF0F81B77D}" type="parTrans" cxnId="{853FD0CF-C2AA-45BB-A229-13D69DB1639D}">
      <dgm:prSet/>
      <dgm:spPr/>
      <dgm:t>
        <a:bodyPr/>
        <a:lstStyle/>
        <a:p>
          <a:endParaRPr lang="en-US"/>
        </a:p>
      </dgm:t>
    </dgm:pt>
    <dgm:pt modelId="{E5177854-C631-4239-A76A-FCF814253F12}" type="sibTrans" cxnId="{853FD0CF-C2AA-45BB-A229-13D69DB1639D}">
      <dgm:prSet/>
      <dgm:spPr/>
      <dgm:t>
        <a:bodyPr/>
        <a:lstStyle/>
        <a:p>
          <a:endParaRPr lang="en-US"/>
        </a:p>
      </dgm:t>
    </dgm:pt>
    <dgm:pt modelId="{1C341EEC-C87B-463B-9300-FD076032B13F}">
      <dgm:prSet custT="1"/>
      <dgm:spPr/>
      <dgm:t>
        <a:bodyPr/>
        <a:lstStyle/>
        <a:p>
          <a:r>
            <a:rPr lang="en-US" sz="1600" kern="1200" dirty="0">
              <a:solidFill>
                <a:prstClr val="white"/>
              </a:solidFill>
              <a:latin typeface="Trebuchet MS"/>
              <a:ea typeface="+mn-ea"/>
              <a:cs typeface="+mn-cs"/>
            </a:rPr>
            <a:t>Reusability is important</a:t>
          </a:r>
          <a:r>
            <a:rPr lang="en-US" sz="1600" kern="1200" dirty="0"/>
            <a:t>, so keep creation of new components to the minimum required. (</a:t>
          </a:r>
          <a:r>
            <a:rPr lang="en-US" sz="1600" kern="1200" dirty="0">
              <a:solidFill>
                <a:schemeClr val="bg1"/>
              </a:solidFill>
              <a:latin typeface="Trebuchet MS"/>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Help</a:t>
          </a:r>
          <a:r>
            <a:rPr lang="en-US" sz="1600" kern="1200" dirty="0"/>
            <a:t>)</a:t>
          </a:r>
        </a:p>
      </dgm:t>
    </dgm:pt>
    <dgm:pt modelId="{AE84F2BB-4406-4EB1-ABD5-B38D5C2BD6A8}" type="parTrans" cxnId="{B0A93A7E-3E1A-48FC-B2E4-3F7C01F82893}">
      <dgm:prSet/>
      <dgm:spPr/>
      <dgm:t>
        <a:bodyPr/>
        <a:lstStyle/>
        <a:p>
          <a:endParaRPr lang="en-US"/>
        </a:p>
      </dgm:t>
    </dgm:pt>
    <dgm:pt modelId="{8C64E009-5714-4D4D-9391-78BC195D7B33}" type="sibTrans" cxnId="{B0A93A7E-3E1A-48FC-B2E4-3F7C01F82893}">
      <dgm:prSet/>
      <dgm:spPr/>
      <dgm:t>
        <a:bodyPr/>
        <a:lstStyle/>
        <a:p>
          <a:endParaRPr lang="en-US"/>
        </a:p>
      </dgm:t>
    </dgm:pt>
    <dgm:pt modelId="{301D0EA2-C1FD-43BF-A2FB-45EE7CA7FB3F}">
      <dgm:prSet custT="1"/>
      <dgm:spPr/>
      <dgm:t>
        <a:bodyPr/>
        <a:lstStyle/>
        <a:p>
          <a:r>
            <a:rPr lang="en-US" sz="1600" kern="1200" dirty="0">
              <a:solidFill>
                <a:prstClr val="white"/>
              </a:solidFill>
              <a:latin typeface="Trebuchet MS"/>
              <a:ea typeface="+mn-ea"/>
              <a:cs typeface="+mn-cs"/>
            </a:rPr>
            <a:t>Consolidate duplicate code - DRY your code.(</a:t>
          </a:r>
          <a:r>
            <a:rPr lang="en-US" sz="1600" kern="1200" dirty="0">
              <a:solidFill>
                <a:schemeClr val="bg1"/>
              </a:solidFill>
              <a:latin typeface="Trebuchet MS"/>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9586B8B8-3827-4691-BD4D-2C1B58E3AC7E}" type="parTrans" cxnId="{AAA361A6-1FA7-4416-8E09-04CEDC171147}">
      <dgm:prSet/>
      <dgm:spPr/>
      <dgm:t>
        <a:bodyPr/>
        <a:lstStyle/>
        <a:p>
          <a:endParaRPr lang="en-US"/>
        </a:p>
      </dgm:t>
    </dgm:pt>
    <dgm:pt modelId="{374AC66D-744A-4531-805F-D5E1B3D85880}" type="sibTrans" cxnId="{AAA361A6-1FA7-4416-8E09-04CEDC171147}">
      <dgm:prSet/>
      <dgm:spPr/>
      <dgm:t>
        <a:bodyPr/>
        <a:lstStyle/>
        <a:p>
          <a:endParaRPr lang="en-US"/>
        </a:p>
      </dgm:t>
    </dgm:pt>
    <dgm:pt modelId="{FDE22BFE-3A8E-4479-B3B9-387F7CBD99FB}">
      <dgm:prSet custT="1"/>
      <dgm:spPr/>
      <dgm:t>
        <a:bodyPr/>
        <a:lstStyle/>
        <a:p>
          <a:r>
            <a:rPr lang="en-US" sz="1600" kern="1200" dirty="0">
              <a:solidFill>
                <a:prstClr val="white"/>
              </a:solidFill>
              <a:latin typeface="Trebuchet MS"/>
              <a:ea typeface="+mn-ea"/>
              <a:cs typeface="+mn-cs"/>
            </a:rPr>
            <a:t>Comment only where necessary</a:t>
          </a:r>
          <a:r>
            <a:rPr lang="en-US" sz="1600" kern="1200" dirty="0"/>
            <a:t>.(</a:t>
          </a:r>
          <a:r>
            <a:rPr lang="en-US" sz="16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Help</a:t>
          </a:r>
          <a:r>
            <a:rPr lang="en-US" sz="1600" kern="1200" dirty="0"/>
            <a:t>)</a:t>
          </a:r>
        </a:p>
      </dgm:t>
    </dgm:pt>
    <dgm:pt modelId="{0F12225F-5DB8-4A59-802C-BD096B120D53}" type="parTrans" cxnId="{7D3DFC0C-B43D-4AE1-9B39-6605CFAC4861}">
      <dgm:prSet/>
      <dgm:spPr/>
      <dgm:t>
        <a:bodyPr/>
        <a:lstStyle/>
        <a:p>
          <a:endParaRPr lang="en-US"/>
        </a:p>
      </dgm:t>
    </dgm:pt>
    <dgm:pt modelId="{32972BD2-8337-4C67-8E9F-97A21CD09D74}" type="sibTrans" cxnId="{7D3DFC0C-B43D-4AE1-9B39-6605CFAC4861}">
      <dgm:prSet/>
      <dgm:spPr/>
      <dgm:t>
        <a:bodyPr/>
        <a:lstStyle/>
        <a:p>
          <a:endParaRPr lang="en-US"/>
        </a:p>
      </dgm:t>
    </dgm:pt>
    <dgm:pt modelId="{693D7902-1E64-4DDB-AE97-1B9EEA1BB514}">
      <dgm:prSet custT="1"/>
      <dgm:spPr/>
      <dgm:t>
        <a:bodyPr/>
        <a:lstStyle/>
        <a:p>
          <a:r>
            <a:rPr lang="en-US" sz="1600" kern="1200" dirty="0">
              <a:solidFill>
                <a:prstClr val="white"/>
              </a:solidFill>
              <a:latin typeface="Trebuchet MS"/>
              <a:ea typeface="+mn-ea"/>
              <a:cs typeface="+mn-cs"/>
            </a:rPr>
            <a:t>Name the component after the function</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gm:t>
    </dgm:pt>
    <dgm:pt modelId="{AD7DB46E-DC7D-443F-BE25-8B4E90DDDB91}" type="parTrans" cxnId="{7DABACE8-F0CD-40A8-9275-46545FB62200}">
      <dgm:prSet/>
      <dgm:spPr/>
      <dgm:t>
        <a:bodyPr/>
        <a:lstStyle/>
        <a:p>
          <a:endParaRPr lang="en-US"/>
        </a:p>
      </dgm:t>
    </dgm:pt>
    <dgm:pt modelId="{1B4FC92D-094A-4B5A-BF5C-AB109E2F7016}" type="sibTrans" cxnId="{7DABACE8-F0CD-40A8-9275-46545FB62200}">
      <dgm:prSet/>
      <dgm:spPr/>
      <dgm:t>
        <a:bodyPr/>
        <a:lstStyle/>
        <a:p>
          <a:endParaRPr lang="en-US"/>
        </a:p>
      </dgm:t>
    </dgm:pt>
    <dgm:pt modelId="{F4FD8F68-E022-4C41-9BDC-CEFA14673D37}">
      <dgm:prSet custT="1"/>
      <dgm:spPr/>
      <dgm:t>
        <a:bodyPr/>
        <a:lstStyle/>
        <a:p>
          <a:r>
            <a:rPr lang="en-US" sz="1600" kern="1200" dirty="0">
              <a:solidFill>
                <a:prstClr val="white"/>
              </a:solidFill>
              <a:latin typeface="Trebuchet MS"/>
              <a:ea typeface="+mn-ea"/>
              <a:cs typeface="+mn-cs"/>
            </a:rPr>
            <a:t>Use capitals for the component names</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gm:t>
    </dgm:pt>
    <dgm:pt modelId="{E5C6D036-B43D-4660-B2B0-DA5B50424CC2}" type="parTrans" cxnId="{7F59511E-E0B4-451B-B564-91013FCC7484}">
      <dgm:prSet/>
      <dgm:spPr/>
      <dgm:t>
        <a:bodyPr/>
        <a:lstStyle/>
        <a:p>
          <a:endParaRPr lang="en-US"/>
        </a:p>
      </dgm:t>
    </dgm:pt>
    <dgm:pt modelId="{E33D558A-3258-474B-B40F-9367B2FE8AC1}" type="sibTrans" cxnId="{7F59511E-E0B4-451B-B564-91013FCC7484}">
      <dgm:prSet/>
      <dgm:spPr/>
      <dgm:t>
        <a:bodyPr/>
        <a:lstStyle/>
        <a:p>
          <a:endParaRPr lang="en-US"/>
        </a:p>
      </dgm:t>
    </dgm:pt>
    <dgm:pt modelId="{AA49F1F7-A7BC-4C12-8E83-46D52992543E}">
      <dgm:prSet custT="1"/>
      <dgm:spPr/>
      <dgm: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All files related to any one component should be in a single folder.(</a:t>
          </a:r>
          <a:r>
            <a:rPr lang="en-US" sz="1600" kern="1200" dirty="0">
              <a:solidFill>
                <a:schemeClr val="bg1"/>
              </a:solidFill>
              <a:latin typeface="Trebuchet MS"/>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gm:t>
    </dgm:pt>
    <dgm:pt modelId="{012955D5-B2B3-42B7-9714-45E70D34FF66}" type="parTrans" cxnId="{4F7C9369-A5C0-4317-A354-722091B6C0DE}">
      <dgm:prSet/>
      <dgm:spPr/>
      <dgm:t>
        <a:bodyPr/>
        <a:lstStyle/>
        <a:p>
          <a:endParaRPr lang="en-US"/>
        </a:p>
      </dgm:t>
    </dgm:pt>
    <dgm:pt modelId="{E44EDF8B-B517-4CD0-8FAC-0139ADAD3B08}" type="sibTrans" cxnId="{4F7C9369-A5C0-4317-A354-722091B6C0DE}">
      <dgm:prSet/>
      <dgm:spPr/>
      <dgm:t>
        <a:bodyPr/>
        <a:lstStyle/>
        <a:p>
          <a:endParaRPr lang="en-US"/>
        </a:p>
      </dgm:t>
    </dgm:pt>
    <dgm:pt modelId="{F8C197A8-E9D7-4B4C-8260-DA0FBBFE6126}">
      <dgm:prSet/>
      <dgm:spPr/>
      <dgm:t>
        <a:bodyPr/>
        <a:lstStyle/>
        <a:p>
          <a:endParaRPr lang="en-US"/>
        </a:p>
      </dgm:t>
    </dgm:pt>
    <dgm:pt modelId="{4B4FFAC4-8A7E-4069-A13B-C1EFC02DE44E}" type="parTrans" cxnId="{CF2F4200-F339-41F5-BA70-172997CAE94C}">
      <dgm:prSet/>
      <dgm:spPr/>
      <dgm:t>
        <a:bodyPr/>
        <a:lstStyle/>
        <a:p>
          <a:endParaRPr lang="en-US"/>
        </a:p>
      </dgm:t>
    </dgm:pt>
    <dgm:pt modelId="{BEA749F8-BB2D-4489-B404-04FFCC08C4CA}" type="sibTrans" cxnId="{CF2F4200-F339-41F5-BA70-172997CAE94C}">
      <dgm:prSet/>
      <dgm:spPr/>
      <dgm:t>
        <a:bodyPr/>
        <a:lstStyle/>
        <a:p>
          <a:endParaRPr lang="en-US"/>
        </a:p>
      </dgm:t>
    </dgm:pt>
    <dgm:pt modelId="{6EBC9948-C027-48A8-9516-9669B3DEF360}" type="pres">
      <dgm:prSet presAssocID="{9DCEF278-0DB7-418F-9B32-0CA2DE685F98}" presName="Name0" presStyleCnt="0">
        <dgm:presLayoutVars>
          <dgm:chMax val="7"/>
          <dgm:chPref val="7"/>
          <dgm:dir/>
        </dgm:presLayoutVars>
      </dgm:prSet>
      <dgm:spPr/>
    </dgm:pt>
    <dgm:pt modelId="{3B58C85D-D573-4699-A03D-F707F1702CE7}" type="pres">
      <dgm:prSet presAssocID="{9DCEF278-0DB7-418F-9B32-0CA2DE685F98}" presName="Name1" presStyleCnt="0"/>
      <dgm:spPr/>
    </dgm:pt>
    <dgm:pt modelId="{2B23F906-FB8D-4864-822D-79431E1BE338}" type="pres">
      <dgm:prSet presAssocID="{9DCEF278-0DB7-418F-9B32-0CA2DE685F98}" presName="cycle" presStyleCnt="0"/>
      <dgm:spPr/>
    </dgm:pt>
    <dgm:pt modelId="{CB384823-8679-4E6B-9C90-AF8EF69A6A8A}" type="pres">
      <dgm:prSet presAssocID="{9DCEF278-0DB7-418F-9B32-0CA2DE685F98}" presName="srcNode" presStyleLbl="node1" presStyleIdx="0" presStyleCnt="7"/>
      <dgm:spPr/>
    </dgm:pt>
    <dgm:pt modelId="{0D86A290-4667-4C03-BB01-B07537F7A803}" type="pres">
      <dgm:prSet presAssocID="{9DCEF278-0DB7-418F-9B32-0CA2DE685F98}" presName="conn" presStyleLbl="parChTrans1D2" presStyleIdx="0" presStyleCnt="1"/>
      <dgm:spPr/>
    </dgm:pt>
    <dgm:pt modelId="{E3373408-EE5C-496E-8007-D47883EDAAAD}" type="pres">
      <dgm:prSet presAssocID="{9DCEF278-0DB7-418F-9B32-0CA2DE685F98}" presName="extraNode" presStyleLbl="node1" presStyleIdx="0" presStyleCnt="7"/>
      <dgm:spPr/>
    </dgm:pt>
    <dgm:pt modelId="{4A6E8F62-2762-4345-98CD-8DC8269CCF8A}" type="pres">
      <dgm:prSet presAssocID="{9DCEF278-0DB7-418F-9B32-0CA2DE685F98}" presName="dstNode" presStyleLbl="node1" presStyleIdx="0" presStyleCnt="7"/>
      <dgm:spPr/>
    </dgm:pt>
    <dgm:pt modelId="{D8ABE002-4472-4980-A04D-6522109132F9}" type="pres">
      <dgm:prSet presAssocID="{C8286726-14CA-430F-82D3-3055859FF7BC}" presName="text_1" presStyleLbl="node1" presStyleIdx="0" presStyleCnt="7">
        <dgm:presLayoutVars>
          <dgm:bulletEnabled val="1"/>
        </dgm:presLayoutVars>
      </dgm:prSet>
      <dgm:spPr/>
    </dgm:pt>
    <dgm:pt modelId="{28756793-1894-4CDA-9E44-1BCA82743D0C}" type="pres">
      <dgm:prSet presAssocID="{C8286726-14CA-430F-82D3-3055859FF7BC}" presName="accent_1" presStyleCnt="0"/>
      <dgm:spPr/>
    </dgm:pt>
    <dgm:pt modelId="{8C128532-2A5B-4DB3-BB25-BE6AF377BBC3}" type="pres">
      <dgm:prSet presAssocID="{C8286726-14CA-430F-82D3-3055859FF7BC}" presName="accentRepeatNode" presStyleLbl="solidFgAcc1" presStyleIdx="0" presStyleCnt="7"/>
      <dgm:spPr/>
    </dgm:pt>
    <dgm:pt modelId="{D8FD01FF-CCC2-4AEA-B8EE-E54E8F61FC7F}" type="pres">
      <dgm:prSet presAssocID="{1C341EEC-C87B-463B-9300-FD076032B13F}" presName="text_2" presStyleLbl="node1" presStyleIdx="1" presStyleCnt="7">
        <dgm:presLayoutVars>
          <dgm:bulletEnabled val="1"/>
        </dgm:presLayoutVars>
      </dgm:prSet>
      <dgm:spPr/>
    </dgm:pt>
    <dgm:pt modelId="{A72F795E-00B5-43BA-8D3E-50AB1563FBB4}" type="pres">
      <dgm:prSet presAssocID="{1C341EEC-C87B-463B-9300-FD076032B13F}" presName="accent_2" presStyleCnt="0"/>
      <dgm:spPr/>
    </dgm:pt>
    <dgm:pt modelId="{14A2497C-2FFF-402D-BD11-9755B38696AF}" type="pres">
      <dgm:prSet presAssocID="{1C341EEC-C87B-463B-9300-FD076032B13F}" presName="accentRepeatNode" presStyleLbl="solidFgAcc1" presStyleIdx="1" presStyleCnt="7"/>
      <dgm:spPr/>
    </dgm:pt>
    <dgm:pt modelId="{1C97DA3E-3659-47DE-A0A0-31815AD52EB9}" type="pres">
      <dgm:prSet presAssocID="{301D0EA2-C1FD-43BF-A2FB-45EE7CA7FB3F}" presName="text_3" presStyleLbl="node1" presStyleIdx="2" presStyleCnt="7">
        <dgm:presLayoutVars>
          <dgm:bulletEnabled val="1"/>
        </dgm:presLayoutVars>
      </dgm:prSet>
      <dgm:spPr/>
    </dgm:pt>
    <dgm:pt modelId="{D73D068F-318A-4D21-AA95-002207124642}" type="pres">
      <dgm:prSet presAssocID="{301D0EA2-C1FD-43BF-A2FB-45EE7CA7FB3F}" presName="accent_3" presStyleCnt="0"/>
      <dgm:spPr/>
    </dgm:pt>
    <dgm:pt modelId="{D52DA5CA-5541-41CA-AB84-76C7D8836931}" type="pres">
      <dgm:prSet presAssocID="{301D0EA2-C1FD-43BF-A2FB-45EE7CA7FB3F}" presName="accentRepeatNode" presStyleLbl="solidFgAcc1" presStyleIdx="2" presStyleCnt="7"/>
      <dgm:spPr/>
    </dgm:pt>
    <dgm:pt modelId="{F8BD9923-17E2-41BE-B910-10007B23B613}" type="pres">
      <dgm:prSet presAssocID="{FDE22BFE-3A8E-4479-B3B9-387F7CBD99FB}" presName="text_4" presStyleLbl="node1" presStyleIdx="3" presStyleCnt="7" custLinFactNeighborY="1716">
        <dgm:presLayoutVars>
          <dgm:bulletEnabled val="1"/>
        </dgm:presLayoutVars>
      </dgm:prSet>
      <dgm:spPr/>
    </dgm:pt>
    <dgm:pt modelId="{7B17CB65-656B-4525-85F6-63BE82567FDB}" type="pres">
      <dgm:prSet presAssocID="{FDE22BFE-3A8E-4479-B3B9-387F7CBD99FB}" presName="accent_4" presStyleCnt="0"/>
      <dgm:spPr/>
    </dgm:pt>
    <dgm:pt modelId="{D8FEAF4D-643F-4D49-945B-77931AD7FC00}" type="pres">
      <dgm:prSet presAssocID="{FDE22BFE-3A8E-4479-B3B9-387F7CBD99FB}" presName="accentRepeatNode" presStyleLbl="solidFgAcc1" presStyleIdx="3" presStyleCnt="7"/>
      <dgm:spPr/>
    </dgm:pt>
    <dgm:pt modelId="{E4E95F7E-B2AA-4ED2-AC99-07A4C6F48DF6}" type="pres">
      <dgm:prSet presAssocID="{693D7902-1E64-4DDB-AE97-1B9EEA1BB514}" presName="text_5" presStyleLbl="node1" presStyleIdx="4" presStyleCnt="7" custLinFactNeighborX="76">
        <dgm:presLayoutVars>
          <dgm:bulletEnabled val="1"/>
        </dgm:presLayoutVars>
      </dgm:prSet>
      <dgm:spPr/>
    </dgm:pt>
    <dgm:pt modelId="{EAE8B6D7-5721-4D40-B6AE-11FC7A74878E}" type="pres">
      <dgm:prSet presAssocID="{693D7902-1E64-4DDB-AE97-1B9EEA1BB514}" presName="accent_5" presStyleCnt="0"/>
      <dgm:spPr/>
    </dgm:pt>
    <dgm:pt modelId="{3EC75918-ED1B-4C70-BC4D-15B5DF74E966}" type="pres">
      <dgm:prSet presAssocID="{693D7902-1E64-4DDB-AE97-1B9EEA1BB514}" presName="accentRepeatNode" presStyleLbl="solidFgAcc1" presStyleIdx="4" presStyleCnt="7"/>
      <dgm:spPr/>
    </dgm:pt>
    <dgm:pt modelId="{188C2A6A-3BB9-4253-9849-BAA1F8108C38}" type="pres">
      <dgm:prSet presAssocID="{F4FD8F68-E022-4C41-9BDC-CEFA14673D37}" presName="text_6" presStyleLbl="node1" presStyleIdx="5" presStyleCnt="7">
        <dgm:presLayoutVars>
          <dgm:bulletEnabled val="1"/>
        </dgm:presLayoutVars>
      </dgm:prSet>
      <dgm:spPr/>
    </dgm:pt>
    <dgm:pt modelId="{F6C669E0-368C-4E1E-91AA-EBCC09B2BB49}" type="pres">
      <dgm:prSet presAssocID="{F4FD8F68-E022-4C41-9BDC-CEFA14673D37}" presName="accent_6" presStyleCnt="0"/>
      <dgm:spPr/>
    </dgm:pt>
    <dgm:pt modelId="{28095737-0BD8-40A0-A6A5-9B48A935460E}" type="pres">
      <dgm:prSet presAssocID="{F4FD8F68-E022-4C41-9BDC-CEFA14673D37}" presName="accentRepeatNode" presStyleLbl="solidFgAcc1" presStyleIdx="5" presStyleCnt="7"/>
      <dgm:spPr/>
    </dgm:pt>
    <dgm:pt modelId="{3C162212-6588-428A-B136-20761E331779}" type="pres">
      <dgm:prSet presAssocID="{AA49F1F7-A7BC-4C12-8E83-46D52992543E}" presName="text_7" presStyleLbl="node1" presStyleIdx="6" presStyleCnt="7">
        <dgm:presLayoutVars>
          <dgm:bulletEnabled val="1"/>
        </dgm:presLayoutVars>
      </dgm:prSet>
      <dgm:spPr/>
    </dgm:pt>
    <dgm:pt modelId="{7F5A1311-7F10-43C0-85DB-3A4C81A573DE}" type="pres">
      <dgm:prSet presAssocID="{AA49F1F7-A7BC-4C12-8E83-46D52992543E}" presName="accent_7" presStyleCnt="0"/>
      <dgm:spPr/>
    </dgm:pt>
    <dgm:pt modelId="{31C40329-2ECE-4CCF-A921-4F4BEFEECBDE}" type="pres">
      <dgm:prSet presAssocID="{AA49F1F7-A7BC-4C12-8E83-46D52992543E}" presName="accentRepeatNode" presStyleLbl="solidFgAcc1" presStyleIdx="6" presStyleCnt="7"/>
      <dgm:spPr/>
    </dgm:pt>
  </dgm:ptLst>
  <dgm:cxnLst>
    <dgm:cxn modelId="{CF2F4200-F339-41F5-BA70-172997CAE94C}" srcId="{9DCEF278-0DB7-418F-9B32-0CA2DE685F98}" destId="{F8C197A8-E9D7-4B4C-8260-DA0FBBFE6126}" srcOrd="7" destOrd="0" parTransId="{4B4FFAC4-8A7E-4069-A13B-C1EFC02DE44E}" sibTransId="{BEA749F8-BB2D-4489-B404-04FFCC08C4CA}"/>
    <dgm:cxn modelId="{6A94030A-7EB5-43DA-8666-2956E73FE631}" type="presOf" srcId="{1C341EEC-C87B-463B-9300-FD076032B13F}" destId="{D8FD01FF-CCC2-4AEA-B8EE-E54E8F61FC7F}" srcOrd="0" destOrd="0" presId="urn:microsoft.com/office/officeart/2008/layout/VerticalCurvedList"/>
    <dgm:cxn modelId="{7D3DFC0C-B43D-4AE1-9B39-6605CFAC4861}" srcId="{9DCEF278-0DB7-418F-9B32-0CA2DE685F98}" destId="{FDE22BFE-3A8E-4479-B3B9-387F7CBD99FB}" srcOrd="3" destOrd="0" parTransId="{0F12225F-5DB8-4A59-802C-BD096B120D53}" sibTransId="{32972BD2-8337-4C67-8E9F-97A21CD09D74}"/>
    <dgm:cxn modelId="{7F59511E-E0B4-451B-B564-91013FCC7484}" srcId="{9DCEF278-0DB7-418F-9B32-0CA2DE685F98}" destId="{F4FD8F68-E022-4C41-9BDC-CEFA14673D37}" srcOrd="5" destOrd="0" parTransId="{E5C6D036-B43D-4660-B2B0-DA5B50424CC2}" sibTransId="{E33D558A-3258-474B-B40F-9367B2FE8AC1}"/>
    <dgm:cxn modelId="{2B5C025F-9B0A-4C61-B3DB-86B2B72E8264}" type="presOf" srcId="{301D0EA2-C1FD-43BF-A2FB-45EE7CA7FB3F}" destId="{1C97DA3E-3659-47DE-A0A0-31815AD52EB9}" srcOrd="0" destOrd="0" presId="urn:microsoft.com/office/officeart/2008/layout/VerticalCurvedList"/>
    <dgm:cxn modelId="{ECFD7062-1FA6-4F90-A886-A4296410CE65}" type="presOf" srcId="{E5177854-C631-4239-A76A-FCF814253F12}" destId="{0D86A290-4667-4C03-BB01-B07537F7A803}" srcOrd="0" destOrd="0" presId="urn:microsoft.com/office/officeart/2008/layout/VerticalCurvedList"/>
    <dgm:cxn modelId="{4F7C9369-A5C0-4317-A354-722091B6C0DE}" srcId="{9DCEF278-0DB7-418F-9B32-0CA2DE685F98}" destId="{AA49F1F7-A7BC-4C12-8E83-46D52992543E}" srcOrd="6" destOrd="0" parTransId="{012955D5-B2B3-42B7-9714-45E70D34FF66}" sibTransId="{E44EDF8B-B517-4CD0-8FAC-0139ADAD3B08}"/>
    <dgm:cxn modelId="{B0A93A7E-3E1A-48FC-B2E4-3F7C01F82893}" srcId="{9DCEF278-0DB7-418F-9B32-0CA2DE685F98}" destId="{1C341EEC-C87B-463B-9300-FD076032B13F}" srcOrd="1" destOrd="0" parTransId="{AE84F2BB-4406-4EB1-ABD5-B38D5C2BD6A8}" sibTransId="{8C64E009-5714-4D4D-9391-78BC195D7B33}"/>
    <dgm:cxn modelId="{214F4A98-012D-43E2-A0A4-49189E89E29B}" type="presOf" srcId="{FDE22BFE-3A8E-4479-B3B9-387F7CBD99FB}" destId="{F8BD9923-17E2-41BE-B910-10007B23B613}" srcOrd="0" destOrd="0" presId="urn:microsoft.com/office/officeart/2008/layout/VerticalCurvedList"/>
    <dgm:cxn modelId="{AAA361A6-1FA7-4416-8E09-04CEDC171147}" srcId="{9DCEF278-0DB7-418F-9B32-0CA2DE685F98}" destId="{301D0EA2-C1FD-43BF-A2FB-45EE7CA7FB3F}" srcOrd="2" destOrd="0" parTransId="{9586B8B8-3827-4691-BD4D-2C1B58E3AC7E}" sibTransId="{374AC66D-744A-4531-805F-D5E1B3D85880}"/>
    <dgm:cxn modelId="{F0F76BAF-8CA8-4B8B-903B-5C63BF0AFBDB}" type="presOf" srcId="{AA49F1F7-A7BC-4C12-8E83-46D52992543E}" destId="{3C162212-6588-428A-B136-20761E331779}" srcOrd="0" destOrd="0" presId="urn:microsoft.com/office/officeart/2008/layout/VerticalCurvedList"/>
    <dgm:cxn modelId="{7A9142B4-5F97-49C0-9D59-9E26E83B71BE}" type="presOf" srcId="{C8286726-14CA-430F-82D3-3055859FF7BC}" destId="{D8ABE002-4472-4980-A04D-6522109132F9}" srcOrd="0" destOrd="0" presId="urn:microsoft.com/office/officeart/2008/layout/VerticalCurvedList"/>
    <dgm:cxn modelId="{853FD0CF-C2AA-45BB-A229-13D69DB1639D}" srcId="{9DCEF278-0DB7-418F-9B32-0CA2DE685F98}" destId="{C8286726-14CA-430F-82D3-3055859FF7BC}" srcOrd="0" destOrd="0" parTransId="{F364CF5D-E032-40F9-922B-DBEF0F81B77D}" sibTransId="{E5177854-C631-4239-A76A-FCF814253F12}"/>
    <dgm:cxn modelId="{14BACED4-8B59-4347-90E8-AB725A5AA258}" type="presOf" srcId="{693D7902-1E64-4DDB-AE97-1B9EEA1BB514}" destId="{E4E95F7E-B2AA-4ED2-AC99-07A4C6F48DF6}" srcOrd="0" destOrd="0" presId="urn:microsoft.com/office/officeart/2008/layout/VerticalCurvedList"/>
    <dgm:cxn modelId="{178481DF-100A-44EB-AFFD-A303AD847CA6}" type="presOf" srcId="{F4FD8F68-E022-4C41-9BDC-CEFA14673D37}" destId="{188C2A6A-3BB9-4253-9849-BAA1F8108C38}" srcOrd="0" destOrd="0" presId="urn:microsoft.com/office/officeart/2008/layout/VerticalCurvedList"/>
    <dgm:cxn modelId="{7DABACE8-F0CD-40A8-9275-46545FB62200}" srcId="{9DCEF278-0DB7-418F-9B32-0CA2DE685F98}" destId="{693D7902-1E64-4DDB-AE97-1B9EEA1BB514}" srcOrd="4" destOrd="0" parTransId="{AD7DB46E-DC7D-443F-BE25-8B4E90DDDB91}" sibTransId="{1B4FC92D-094A-4B5A-BF5C-AB109E2F7016}"/>
    <dgm:cxn modelId="{5C442CF8-64C8-478E-B45A-C070E374AB48}" type="presOf" srcId="{9DCEF278-0DB7-418F-9B32-0CA2DE685F98}" destId="{6EBC9948-C027-48A8-9516-9669B3DEF360}" srcOrd="0" destOrd="0" presId="urn:microsoft.com/office/officeart/2008/layout/VerticalCurvedList"/>
    <dgm:cxn modelId="{F87E7B24-A92E-49A7-971E-D5EDB2248E11}" type="presParOf" srcId="{6EBC9948-C027-48A8-9516-9669B3DEF360}" destId="{3B58C85D-D573-4699-A03D-F707F1702CE7}" srcOrd="0" destOrd="0" presId="urn:microsoft.com/office/officeart/2008/layout/VerticalCurvedList"/>
    <dgm:cxn modelId="{2F3B02F9-4C84-4FC9-BBC2-F1595D107AB0}" type="presParOf" srcId="{3B58C85D-D573-4699-A03D-F707F1702CE7}" destId="{2B23F906-FB8D-4864-822D-79431E1BE338}" srcOrd="0" destOrd="0" presId="urn:microsoft.com/office/officeart/2008/layout/VerticalCurvedList"/>
    <dgm:cxn modelId="{294A581F-1270-4C14-8964-92E9C154794B}" type="presParOf" srcId="{2B23F906-FB8D-4864-822D-79431E1BE338}" destId="{CB384823-8679-4E6B-9C90-AF8EF69A6A8A}" srcOrd="0" destOrd="0" presId="urn:microsoft.com/office/officeart/2008/layout/VerticalCurvedList"/>
    <dgm:cxn modelId="{0C9DBD9D-27D5-4233-8314-DCA90F1319F6}" type="presParOf" srcId="{2B23F906-FB8D-4864-822D-79431E1BE338}" destId="{0D86A290-4667-4C03-BB01-B07537F7A803}" srcOrd="1" destOrd="0" presId="urn:microsoft.com/office/officeart/2008/layout/VerticalCurvedList"/>
    <dgm:cxn modelId="{1E8E76B8-768F-41C3-BD4C-50DDA870BF37}" type="presParOf" srcId="{2B23F906-FB8D-4864-822D-79431E1BE338}" destId="{E3373408-EE5C-496E-8007-D47883EDAAAD}" srcOrd="2" destOrd="0" presId="urn:microsoft.com/office/officeart/2008/layout/VerticalCurvedList"/>
    <dgm:cxn modelId="{4AD3AD1F-CA76-4BF3-AE8D-B57537534D2C}" type="presParOf" srcId="{2B23F906-FB8D-4864-822D-79431E1BE338}" destId="{4A6E8F62-2762-4345-98CD-8DC8269CCF8A}" srcOrd="3" destOrd="0" presId="urn:microsoft.com/office/officeart/2008/layout/VerticalCurvedList"/>
    <dgm:cxn modelId="{D7DA647D-6E98-4851-82FF-B94B106DBF17}" type="presParOf" srcId="{3B58C85D-D573-4699-A03D-F707F1702CE7}" destId="{D8ABE002-4472-4980-A04D-6522109132F9}" srcOrd="1" destOrd="0" presId="urn:microsoft.com/office/officeart/2008/layout/VerticalCurvedList"/>
    <dgm:cxn modelId="{BDF05F0D-EC4A-4B82-8FE4-30B2AB1716C2}" type="presParOf" srcId="{3B58C85D-D573-4699-A03D-F707F1702CE7}" destId="{28756793-1894-4CDA-9E44-1BCA82743D0C}" srcOrd="2" destOrd="0" presId="urn:microsoft.com/office/officeart/2008/layout/VerticalCurvedList"/>
    <dgm:cxn modelId="{05B39DC9-AB11-44FA-A798-BDCA0071A839}" type="presParOf" srcId="{28756793-1894-4CDA-9E44-1BCA82743D0C}" destId="{8C128532-2A5B-4DB3-BB25-BE6AF377BBC3}" srcOrd="0" destOrd="0" presId="urn:microsoft.com/office/officeart/2008/layout/VerticalCurvedList"/>
    <dgm:cxn modelId="{E0466FB4-178E-418B-9408-7E84BDF13AB3}" type="presParOf" srcId="{3B58C85D-D573-4699-A03D-F707F1702CE7}" destId="{D8FD01FF-CCC2-4AEA-B8EE-E54E8F61FC7F}" srcOrd="3" destOrd="0" presId="urn:microsoft.com/office/officeart/2008/layout/VerticalCurvedList"/>
    <dgm:cxn modelId="{A3F5E47B-DB9C-4D8D-9DDD-6A053F89039D}" type="presParOf" srcId="{3B58C85D-D573-4699-A03D-F707F1702CE7}" destId="{A72F795E-00B5-43BA-8D3E-50AB1563FBB4}" srcOrd="4" destOrd="0" presId="urn:microsoft.com/office/officeart/2008/layout/VerticalCurvedList"/>
    <dgm:cxn modelId="{CDDB9EF0-0EC4-4E83-84B0-0502661E3162}" type="presParOf" srcId="{A72F795E-00B5-43BA-8D3E-50AB1563FBB4}" destId="{14A2497C-2FFF-402D-BD11-9755B38696AF}" srcOrd="0" destOrd="0" presId="urn:microsoft.com/office/officeart/2008/layout/VerticalCurvedList"/>
    <dgm:cxn modelId="{A3617D8B-0C1B-4618-839D-225A90D87FB1}" type="presParOf" srcId="{3B58C85D-D573-4699-A03D-F707F1702CE7}" destId="{1C97DA3E-3659-47DE-A0A0-31815AD52EB9}" srcOrd="5" destOrd="0" presId="urn:microsoft.com/office/officeart/2008/layout/VerticalCurvedList"/>
    <dgm:cxn modelId="{79E8D0DA-5046-4D4A-A758-06FE57B893F4}" type="presParOf" srcId="{3B58C85D-D573-4699-A03D-F707F1702CE7}" destId="{D73D068F-318A-4D21-AA95-002207124642}" srcOrd="6" destOrd="0" presId="urn:microsoft.com/office/officeart/2008/layout/VerticalCurvedList"/>
    <dgm:cxn modelId="{9C4E2307-BDF5-4AE8-97E4-8D98CBCC2CB1}" type="presParOf" srcId="{D73D068F-318A-4D21-AA95-002207124642}" destId="{D52DA5CA-5541-41CA-AB84-76C7D8836931}" srcOrd="0" destOrd="0" presId="urn:microsoft.com/office/officeart/2008/layout/VerticalCurvedList"/>
    <dgm:cxn modelId="{11628465-7A7B-4B20-98CF-77B19CA93552}" type="presParOf" srcId="{3B58C85D-D573-4699-A03D-F707F1702CE7}" destId="{F8BD9923-17E2-41BE-B910-10007B23B613}" srcOrd="7" destOrd="0" presId="urn:microsoft.com/office/officeart/2008/layout/VerticalCurvedList"/>
    <dgm:cxn modelId="{B855ABEC-60C3-4C56-A65B-9A4EC67B209F}" type="presParOf" srcId="{3B58C85D-D573-4699-A03D-F707F1702CE7}" destId="{7B17CB65-656B-4525-85F6-63BE82567FDB}" srcOrd="8" destOrd="0" presId="urn:microsoft.com/office/officeart/2008/layout/VerticalCurvedList"/>
    <dgm:cxn modelId="{491B89B4-A381-44B1-A274-B299B5044C28}" type="presParOf" srcId="{7B17CB65-656B-4525-85F6-63BE82567FDB}" destId="{D8FEAF4D-643F-4D49-945B-77931AD7FC00}" srcOrd="0" destOrd="0" presId="urn:microsoft.com/office/officeart/2008/layout/VerticalCurvedList"/>
    <dgm:cxn modelId="{4121DE62-349D-4A54-BDAC-DCF332C4A4C4}" type="presParOf" srcId="{3B58C85D-D573-4699-A03D-F707F1702CE7}" destId="{E4E95F7E-B2AA-4ED2-AC99-07A4C6F48DF6}" srcOrd="9" destOrd="0" presId="urn:microsoft.com/office/officeart/2008/layout/VerticalCurvedList"/>
    <dgm:cxn modelId="{EBF3B1CC-5D1A-4F07-8310-E790C89F6D4E}" type="presParOf" srcId="{3B58C85D-D573-4699-A03D-F707F1702CE7}" destId="{EAE8B6D7-5721-4D40-B6AE-11FC7A74878E}" srcOrd="10" destOrd="0" presId="urn:microsoft.com/office/officeart/2008/layout/VerticalCurvedList"/>
    <dgm:cxn modelId="{45039ECA-2706-48C6-BC75-3D4EA5F95C2D}" type="presParOf" srcId="{EAE8B6D7-5721-4D40-B6AE-11FC7A74878E}" destId="{3EC75918-ED1B-4C70-BC4D-15B5DF74E966}" srcOrd="0" destOrd="0" presId="urn:microsoft.com/office/officeart/2008/layout/VerticalCurvedList"/>
    <dgm:cxn modelId="{F17E3094-50A8-4D3F-B22E-44FEE3345A0D}" type="presParOf" srcId="{3B58C85D-D573-4699-A03D-F707F1702CE7}" destId="{188C2A6A-3BB9-4253-9849-BAA1F8108C38}" srcOrd="11" destOrd="0" presId="urn:microsoft.com/office/officeart/2008/layout/VerticalCurvedList"/>
    <dgm:cxn modelId="{875D86E7-14E7-4911-92F0-6723770B6E09}" type="presParOf" srcId="{3B58C85D-D573-4699-A03D-F707F1702CE7}" destId="{F6C669E0-368C-4E1E-91AA-EBCC09B2BB49}" srcOrd="12" destOrd="0" presId="urn:microsoft.com/office/officeart/2008/layout/VerticalCurvedList"/>
    <dgm:cxn modelId="{118E96EE-EEB8-4CA4-9860-289D5F2FCBFF}" type="presParOf" srcId="{F6C669E0-368C-4E1E-91AA-EBCC09B2BB49}" destId="{28095737-0BD8-40A0-A6A5-9B48A935460E}" srcOrd="0" destOrd="0" presId="urn:microsoft.com/office/officeart/2008/layout/VerticalCurvedList"/>
    <dgm:cxn modelId="{CEE1F3C7-4ED8-418F-A023-E78C73D39EC5}" type="presParOf" srcId="{3B58C85D-D573-4699-A03D-F707F1702CE7}" destId="{3C162212-6588-428A-B136-20761E331779}" srcOrd="13" destOrd="0" presId="urn:microsoft.com/office/officeart/2008/layout/VerticalCurvedList"/>
    <dgm:cxn modelId="{E53935F0-C643-4C02-861C-C4FC6BCEBBEC}" type="presParOf" srcId="{3B58C85D-D573-4699-A03D-F707F1702CE7}" destId="{7F5A1311-7F10-43C0-85DB-3A4C81A573DE}" srcOrd="14" destOrd="0" presId="urn:microsoft.com/office/officeart/2008/layout/VerticalCurvedList"/>
    <dgm:cxn modelId="{3CB74F4C-771A-435B-8770-7DD8A83D5D25}" type="presParOf" srcId="{7F5A1311-7F10-43C0-85DB-3A4C81A573DE}" destId="{31C40329-2ECE-4CCF-A921-4F4BEFEECBDE}"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86A290-4667-4C03-BB01-B07537F7A803}">
      <dsp:nvSpPr>
        <dsp:cNvPr id="0" name=""/>
        <dsp:cNvSpPr/>
      </dsp:nvSpPr>
      <dsp:spPr>
        <a:xfrm>
          <a:off x="-6706231" y="-1026309"/>
          <a:ext cx="7988136" cy="7988136"/>
        </a:xfrm>
        <a:prstGeom prst="blockArc">
          <a:avLst>
            <a:gd name="adj1" fmla="val 18900000"/>
            <a:gd name="adj2" fmla="val 2700000"/>
            <a:gd name="adj3" fmla="val 270"/>
          </a:avLst>
        </a:pr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ABE002-4472-4980-A04D-6522109132F9}">
      <dsp:nvSpPr>
        <dsp:cNvPr id="0" name=""/>
        <dsp:cNvSpPr/>
      </dsp:nvSpPr>
      <dsp:spPr>
        <a:xfrm>
          <a:off x="416376" y="269828"/>
          <a:ext cx="7183169"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Keep components small and function specific. (</a:t>
          </a:r>
          <a:r>
            <a:rPr lang="en-US" sz="1600" b="1" kern="1200" dirty="0">
              <a:solidFill>
                <a:schemeClr val="bg1"/>
              </a:solidFill>
              <a:latin typeface="Trebuchet MS"/>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416376" y="269828"/>
        <a:ext cx="7183169" cy="539419"/>
      </dsp:txXfrm>
    </dsp:sp>
    <dsp:sp modelId="{8C128532-2A5B-4DB3-BB25-BE6AF377BBC3}">
      <dsp:nvSpPr>
        <dsp:cNvPr id="0" name=""/>
        <dsp:cNvSpPr/>
      </dsp:nvSpPr>
      <dsp:spPr>
        <a:xfrm>
          <a:off x="79239" y="20240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FD01FF-CCC2-4AEA-B8EE-E54E8F61FC7F}">
      <dsp:nvSpPr>
        <dsp:cNvPr id="0" name=""/>
        <dsp:cNvSpPr/>
      </dsp:nvSpPr>
      <dsp:spPr>
        <a:xfrm>
          <a:off x="904869" y="1079433"/>
          <a:ext cx="6694676"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Reusability is important</a:t>
          </a:r>
          <a:r>
            <a:rPr lang="en-US" sz="1600" kern="1200" dirty="0"/>
            <a:t>, so keep creation of new components to the minimum required. (</a:t>
          </a:r>
          <a:r>
            <a:rPr lang="en-US" sz="1600" kern="1200" dirty="0">
              <a:solidFill>
                <a:schemeClr val="bg1"/>
              </a:solidFill>
              <a:latin typeface="Trebuchet MS"/>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Help</a:t>
          </a:r>
          <a:r>
            <a:rPr lang="en-US" sz="1600" kern="1200" dirty="0"/>
            <a:t>)</a:t>
          </a:r>
        </a:p>
      </dsp:txBody>
      <dsp:txXfrm>
        <a:off x="904869" y="1079433"/>
        <a:ext cx="6694676" cy="539419"/>
      </dsp:txXfrm>
    </dsp:sp>
    <dsp:sp modelId="{14A2497C-2FFF-402D-BD11-9755B38696AF}">
      <dsp:nvSpPr>
        <dsp:cNvPr id="0" name=""/>
        <dsp:cNvSpPr/>
      </dsp:nvSpPr>
      <dsp:spPr>
        <a:xfrm>
          <a:off x="567732" y="1012005"/>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C97DA3E-3659-47DE-A0A0-31815AD52EB9}">
      <dsp:nvSpPr>
        <dsp:cNvPr id="0" name=""/>
        <dsp:cNvSpPr/>
      </dsp:nvSpPr>
      <dsp:spPr>
        <a:xfrm>
          <a:off x="1172561" y="1888444"/>
          <a:ext cx="6426984"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Consolidate duplicate code - DRY your code.(</a:t>
          </a:r>
          <a:r>
            <a:rPr lang="en-US" sz="1600" kern="1200" dirty="0">
              <a:solidFill>
                <a:schemeClr val="bg1"/>
              </a:solidFill>
              <a:latin typeface="Trebuchet MS"/>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1172561" y="1888444"/>
        <a:ext cx="6426984" cy="539419"/>
      </dsp:txXfrm>
    </dsp:sp>
    <dsp:sp modelId="{D52DA5CA-5541-41CA-AB84-76C7D8836931}">
      <dsp:nvSpPr>
        <dsp:cNvPr id="0" name=""/>
        <dsp:cNvSpPr/>
      </dsp:nvSpPr>
      <dsp:spPr>
        <a:xfrm>
          <a:off x="835424" y="1821016"/>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BD9923-17E2-41BE-B910-10007B23B613}">
      <dsp:nvSpPr>
        <dsp:cNvPr id="0" name=""/>
        <dsp:cNvSpPr/>
      </dsp:nvSpPr>
      <dsp:spPr>
        <a:xfrm>
          <a:off x="1258033" y="2707305"/>
          <a:ext cx="6341512"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Comment only where necessary</a:t>
          </a:r>
          <a:r>
            <a:rPr lang="en-US" sz="1600" kern="1200" dirty="0"/>
            <a:t>.(</a:t>
          </a:r>
          <a:r>
            <a:rPr lang="en-US" sz="1600" kern="1200" dirty="0">
              <a:solidFill>
                <a:schemeClr val="bg1"/>
              </a:solidFill>
              <a:hlinkClick xmlns:r="http://schemas.openxmlformats.org/officeDocument/2006/relationships" r:id="rId4">
                <a:extLst>
                  <a:ext uri="{A12FA001-AC4F-418D-AE19-62706E023703}">
                    <ahyp:hlinkClr xmlns:ahyp="http://schemas.microsoft.com/office/drawing/2018/hyperlinkcolor" val="tx"/>
                  </a:ext>
                </a:extLst>
              </a:hlinkClick>
            </a:rPr>
            <a:t>Help</a:t>
          </a:r>
          <a:r>
            <a:rPr lang="en-US" sz="1600" kern="1200" dirty="0"/>
            <a:t>)</a:t>
          </a:r>
        </a:p>
      </dsp:txBody>
      <dsp:txXfrm>
        <a:off x="1258033" y="2707305"/>
        <a:ext cx="6341512" cy="539419"/>
      </dsp:txXfrm>
    </dsp:sp>
    <dsp:sp modelId="{D8FEAF4D-643F-4D49-945B-77931AD7FC00}">
      <dsp:nvSpPr>
        <dsp:cNvPr id="0" name=""/>
        <dsp:cNvSpPr/>
      </dsp:nvSpPr>
      <dsp:spPr>
        <a:xfrm>
          <a:off x="920895" y="263062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E95F7E-B2AA-4ED2-AC99-07A4C6F48DF6}">
      <dsp:nvSpPr>
        <dsp:cNvPr id="0" name=""/>
        <dsp:cNvSpPr/>
      </dsp:nvSpPr>
      <dsp:spPr>
        <a:xfrm>
          <a:off x="1177446" y="3507653"/>
          <a:ext cx="6426984"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Name the component after the function</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sp:txBody>
      <dsp:txXfrm>
        <a:off x="1177446" y="3507653"/>
        <a:ext cx="6426984" cy="539419"/>
      </dsp:txXfrm>
    </dsp:sp>
    <dsp:sp modelId="{3EC75918-ED1B-4C70-BC4D-15B5DF74E966}">
      <dsp:nvSpPr>
        <dsp:cNvPr id="0" name=""/>
        <dsp:cNvSpPr/>
      </dsp:nvSpPr>
      <dsp:spPr>
        <a:xfrm>
          <a:off x="835424" y="3440226"/>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8C2A6A-3BB9-4253-9849-BAA1F8108C38}">
      <dsp:nvSpPr>
        <dsp:cNvPr id="0" name=""/>
        <dsp:cNvSpPr/>
      </dsp:nvSpPr>
      <dsp:spPr>
        <a:xfrm>
          <a:off x="904869" y="4316664"/>
          <a:ext cx="6694676"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Use capitals for the component names</a:t>
          </a:r>
          <a:r>
            <a:rPr lang="en-US" sz="1600" kern="1200" dirty="0"/>
            <a:t>.(</a:t>
          </a:r>
          <a:r>
            <a:rPr lang="en-US" sz="1600" kern="1200" dirty="0">
              <a:solidFill>
                <a:schemeClr val="bg1"/>
              </a:solidFill>
              <a:hlinkClick xmlns:r="http://schemas.openxmlformats.org/officeDocument/2006/relationships" r:id="rId5">
                <a:extLst>
                  <a:ext uri="{A12FA001-AC4F-418D-AE19-62706E023703}">
                    <ahyp:hlinkClr xmlns:ahyp="http://schemas.microsoft.com/office/drawing/2018/hyperlinkcolor" val="tx"/>
                  </a:ext>
                </a:extLst>
              </a:hlinkClick>
            </a:rPr>
            <a:t>Help</a:t>
          </a:r>
          <a:r>
            <a:rPr lang="en-US" sz="1600" kern="1200" dirty="0"/>
            <a:t>)</a:t>
          </a:r>
        </a:p>
      </dsp:txBody>
      <dsp:txXfrm>
        <a:off x="904869" y="4316664"/>
        <a:ext cx="6694676" cy="539419"/>
      </dsp:txXfrm>
    </dsp:sp>
    <dsp:sp modelId="{28095737-0BD8-40A0-A6A5-9B48A935460E}">
      <dsp:nvSpPr>
        <dsp:cNvPr id="0" name=""/>
        <dsp:cNvSpPr/>
      </dsp:nvSpPr>
      <dsp:spPr>
        <a:xfrm>
          <a:off x="567732" y="4249237"/>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162212-6588-428A-B136-20761E331779}">
      <dsp:nvSpPr>
        <dsp:cNvPr id="0" name=""/>
        <dsp:cNvSpPr/>
      </dsp:nvSpPr>
      <dsp:spPr>
        <a:xfrm>
          <a:off x="416376" y="5126269"/>
          <a:ext cx="7183169" cy="539419"/>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165"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prstClr val="white"/>
              </a:solidFill>
              <a:latin typeface="Trebuchet MS"/>
              <a:ea typeface="+mn-ea"/>
              <a:cs typeface="+mn-cs"/>
            </a:rPr>
            <a:t>All files related to any one component should be in a single folder.(</a:t>
          </a:r>
          <a:r>
            <a:rPr lang="en-US" sz="1600" kern="1200" dirty="0">
              <a:solidFill>
                <a:schemeClr val="bg1"/>
              </a:solidFill>
              <a:latin typeface="Trebuchet MS"/>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Help</a:t>
          </a:r>
          <a:r>
            <a:rPr lang="en-US" sz="1600" kern="1200" dirty="0">
              <a:solidFill>
                <a:prstClr val="white"/>
              </a:solidFill>
              <a:latin typeface="Trebuchet MS"/>
              <a:ea typeface="+mn-ea"/>
              <a:cs typeface="+mn-cs"/>
            </a:rPr>
            <a:t>)</a:t>
          </a:r>
        </a:p>
      </dsp:txBody>
      <dsp:txXfrm>
        <a:off x="416376" y="5126269"/>
        <a:ext cx="7183169" cy="539419"/>
      </dsp:txXfrm>
    </dsp:sp>
    <dsp:sp modelId="{31C40329-2ECE-4CCF-A921-4F4BEFEECBDE}">
      <dsp:nvSpPr>
        <dsp:cNvPr id="0" name=""/>
        <dsp:cNvSpPr/>
      </dsp:nvSpPr>
      <dsp:spPr>
        <a:xfrm>
          <a:off x="79239" y="5058841"/>
          <a:ext cx="674274" cy="674274"/>
        </a:xfrm>
        <a:prstGeom prst="ellipse">
          <a:avLst/>
        </a:prstGeom>
        <a:solidFill>
          <a:schemeClr val="lt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3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3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952313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57711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855303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765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9.xml"/><Relationship Id="rId7" Type="http://schemas.openxmlformats.org/officeDocument/2006/relationships/image" Target="../media/image2.emf"/><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38.bin"/><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slideMaster" Target="../slideMasters/slideMaster3.xml"/><Relationship Id="rId5" Type="http://schemas.openxmlformats.org/officeDocument/2006/relationships/tags" Target="../tags/tag66.xml"/><Relationship Id="rId10" Type="http://schemas.openxmlformats.org/officeDocument/2006/relationships/image" Target="../media/image4.jpg"/><Relationship Id="rId4" Type="http://schemas.openxmlformats.org/officeDocument/2006/relationships/tags" Target="../tags/tag65.xml"/><Relationship Id="rId9" Type="http://schemas.openxmlformats.org/officeDocument/2006/relationships/image" Target="../media/image3.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0.xml"/><Relationship Id="rId7" Type="http://schemas.openxmlformats.org/officeDocument/2006/relationships/image" Target="../media/image2.emf"/><Relationship Id="rId2" Type="http://schemas.openxmlformats.org/officeDocument/2006/relationships/tags" Target="../tags/tag6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3.xml"/><Relationship Id="rId7" Type="http://schemas.openxmlformats.org/officeDocument/2006/relationships/oleObject" Target="../embeddings/oleObject42.bin"/><Relationship Id="rId2" Type="http://schemas.openxmlformats.org/officeDocument/2006/relationships/tags" Target="../tags/tag72.xml"/><Relationship Id="rId1" Type="http://schemas.openxmlformats.org/officeDocument/2006/relationships/vmlDrawing" Target="../drawings/vmlDrawing42.vml"/><Relationship Id="rId6" Type="http://schemas.openxmlformats.org/officeDocument/2006/relationships/slideMaster" Target="../slideMasters/slideMaster3.xml"/><Relationship Id="rId5" Type="http://schemas.openxmlformats.org/officeDocument/2006/relationships/tags" Target="../tags/tag75.xml"/><Relationship Id="rId10" Type="http://schemas.openxmlformats.org/officeDocument/2006/relationships/image" Target="../media/image4.jpg"/><Relationship Id="rId4" Type="http://schemas.openxmlformats.org/officeDocument/2006/relationships/tags" Target="../tags/tag74.xml"/><Relationship Id="rId9" Type="http://schemas.openxmlformats.org/officeDocument/2006/relationships/image" Target="../media/image3.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3.xml"/><Relationship Id="rId4" Type="http://schemas.openxmlformats.org/officeDocument/2006/relationships/tags" Target="../tags/tag8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4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5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4.xml"/><Relationship Id="rId7" Type="http://schemas.openxmlformats.org/officeDocument/2006/relationships/oleObject" Target="../embeddings/oleObject56.bin"/><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slideMaster" Target="../slideMasters/slideMaster4.xml"/><Relationship Id="rId5" Type="http://schemas.openxmlformats.org/officeDocument/2006/relationships/tags" Target="../tags/tag96.xml"/><Relationship Id="rId10" Type="http://schemas.openxmlformats.org/officeDocument/2006/relationships/image" Target="../media/image4.jpg"/><Relationship Id="rId4" Type="http://schemas.openxmlformats.org/officeDocument/2006/relationships/tags" Target="../tags/tag95.xml"/><Relationship Id="rId9" Type="http://schemas.openxmlformats.org/officeDocument/2006/relationships/image" Target="../media/image3.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58.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0.xml"/><Relationship Id="rId7" Type="http://schemas.openxmlformats.org/officeDocument/2006/relationships/image" Target="../media/image2.emf"/><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3.xml"/><Relationship Id="rId7" Type="http://schemas.openxmlformats.org/officeDocument/2006/relationships/oleObject" Target="../embeddings/oleObject60.bin"/><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slideMaster" Target="../slideMasters/slideMaster4.xml"/><Relationship Id="rId5" Type="http://schemas.openxmlformats.org/officeDocument/2006/relationships/tags" Target="../tags/tag105.xml"/><Relationship Id="rId10" Type="http://schemas.openxmlformats.org/officeDocument/2006/relationships/image" Target="../media/image4.jpg"/><Relationship Id="rId4" Type="http://schemas.openxmlformats.org/officeDocument/2006/relationships/tags" Target="../tags/tag104.xml"/><Relationship Id="rId9" Type="http://schemas.openxmlformats.org/officeDocument/2006/relationships/image" Target="../media/image3.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1.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6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9.xml"/><Relationship Id="rId7" Type="http://schemas.openxmlformats.org/officeDocument/2006/relationships/image" Target="../media/image2.emf"/><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1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6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1.xml"/><Relationship Id="rId1" Type="http://schemas.openxmlformats.org/officeDocument/2006/relationships/vmlDrawing" Target="../drawings/vmlDrawing7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4.xml"/><Relationship Id="rId7" Type="http://schemas.openxmlformats.org/officeDocument/2006/relationships/oleObject" Target="../embeddings/oleObject74.bin"/><Relationship Id="rId2" Type="http://schemas.openxmlformats.org/officeDocument/2006/relationships/tags" Target="../tags/tag123.xml"/><Relationship Id="rId1" Type="http://schemas.openxmlformats.org/officeDocument/2006/relationships/vmlDrawing" Target="../drawings/vmlDrawing74.vml"/><Relationship Id="rId6" Type="http://schemas.openxmlformats.org/officeDocument/2006/relationships/slideMaster" Target="../slideMasters/slideMaster5.xml"/><Relationship Id="rId5" Type="http://schemas.openxmlformats.org/officeDocument/2006/relationships/tags" Target="../tags/tag126.xml"/><Relationship Id="rId10" Type="http://schemas.openxmlformats.org/officeDocument/2006/relationships/image" Target="../media/image4.jpg"/><Relationship Id="rId4" Type="http://schemas.openxmlformats.org/officeDocument/2006/relationships/tags" Target="../tags/tag125.xml"/><Relationship Id="rId9"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vmlDrawing" Target="../drawings/vmlDrawing7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76.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30.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slideMaster" Target="../slideMasters/slideMaster5.xml"/><Relationship Id="rId4" Type="http://schemas.openxmlformats.org/officeDocument/2006/relationships/tags" Target="../tags/tag13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3.xml"/><Relationship Id="rId7" Type="http://schemas.openxmlformats.org/officeDocument/2006/relationships/oleObject" Target="../embeddings/oleObject78.bin"/><Relationship Id="rId2" Type="http://schemas.openxmlformats.org/officeDocument/2006/relationships/tags" Target="../tags/tag132.xml"/><Relationship Id="rId1" Type="http://schemas.openxmlformats.org/officeDocument/2006/relationships/vmlDrawing" Target="../drawings/vmlDrawing78.vml"/><Relationship Id="rId6" Type="http://schemas.openxmlformats.org/officeDocument/2006/relationships/slideMaster" Target="../slideMasters/slideMaster5.xml"/><Relationship Id="rId5" Type="http://schemas.openxmlformats.org/officeDocument/2006/relationships/tags" Target="../tags/tag135.xml"/><Relationship Id="rId10" Type="http://schemas.openxmlformats.org/officeDocument/2006/relationships/image" Target="../media/image4.jpg"/><Relationship Id="rId4" Type="http://schemas.openxmlformats.org/officeDocument/2006/relationships/tags" Target="../tags/tag134.xml"/><Relationship Id="rId9" Type="http://schemas.openxmlformats.org/officeDocument/2006/relationships/image" Target="../media/image3.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79.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9.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8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39.xml"/><Relationship Id="rId7" Type="http://schemas.openxmlformats.org/officeDocument/2006/relationships/image" Target="../media/image2.emf"/><Relationship Id="rId2" Type="http://schemas.openxmlformats.org/officeDocument/2006/relationships/tags" Target="../tags/tag138.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5.xml"/><Relationship Id="rId4" Type="http://schemas.openxmlformats.org/officeDocument/2006/relationships/tags" Target="../tags/tag14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5.xml"/><Relationship Id="rId1" Type="http://schemas.openxmlformats.org/officeDocument/2006/relationships/vmlDrawing" Target="../drawings/vmlDrawing8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vmlDrawing" Target="../drawings/vmlDrawing8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1.xml"/><Relationship Id="rId1" Type="http://schemas.openxmlformats.org/officeDocument/2006/relationships/vmlDrawing" Target="../drawings/vmlDrawing9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4.xml"/><Relationship Id="rId7" Type="http://schemas.openxmlformats.org/officeDocument/2006/relationships/oleObject" Target="../embeddings/oleObject20.bin"/><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image" Target="../media/image4.jpg"/><Relationship Id="rId4" Type="http://schemas.openxmlformats.org/officeDocument/2006/relationships/tags" Target="../tags/tag35.xml"/><Relationship Id="rId9"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3.xml"/><Relationship Id="rId7" Type="http://schemas.openxmlformats.org/officeDocument/2006/relationships/oleObject" Target="../embeddings/oleObject24.bin"/><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45.xml"/><Relationship Id="rId10" Type="http://schemas.openxmlformats.org/officeDocument/2006/relationships/image" Target="../media/image4.jpg"/><Relationship Id="rId4" Type="http://schemas.openxmlformats.org/officeDocument/2006/relationships/tags" Target="../tags/tag44.xml"/><Relationship Id="rId9"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285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14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57667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4467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217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065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121761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4313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3664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866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53388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47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87596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61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97474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928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685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309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2405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3386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44680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54965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042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118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883781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51846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30033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4913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984287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8261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3804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4865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923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72466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181724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28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44788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735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173671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40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804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7"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79535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27373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62679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31954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3921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565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58437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81658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12252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23895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5096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33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46476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2857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047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907644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7990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2111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1925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8190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4544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181572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4163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43571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24193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533192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727107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027740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668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9"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76524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7863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451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3"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666513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20716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457710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8393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92023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428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7135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06946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12732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5209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605119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1086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203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82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72758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92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02542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780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49630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38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86691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6503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95695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1472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21895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42548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4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8583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716920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535039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89604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26480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41304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077255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68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542747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793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03435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722564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189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592866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692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106334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310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432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9"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18137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525316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504397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28200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79678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978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40567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488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7513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711130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4511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1126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93306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7019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4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570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934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9818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9222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03719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68946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843942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5127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78816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32029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695338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734551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752127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9555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320707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08676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196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89869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47069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6105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76030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0382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310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68749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2242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4393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510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90688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016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432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284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84877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043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20960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21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07820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396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55998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454058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819282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5451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19864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99400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42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8740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426685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00598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2358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5198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513891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31487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2141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01832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579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1860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025999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4128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820176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380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699611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52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936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1"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83994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9975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886216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592634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3071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563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329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44587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2601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892419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752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65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2536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880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380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96701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00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93918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025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9579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954462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136218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25715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147558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29074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613590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86850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22865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7836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47777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206133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280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7"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8171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13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521412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75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65694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91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546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05313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59916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426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79888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49692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2394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13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6906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224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58265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4618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21199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758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73607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004512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237981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6958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1862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7328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89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914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973390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16410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2526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9"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824818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41250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454095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9567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89270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23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457456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4067011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9017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67574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79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935189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170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412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5"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29034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87814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582799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780572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37528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98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14570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95249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2848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292597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629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515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52311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4192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436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4870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35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2136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223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04692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10175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52964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21995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456193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2263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53478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46615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676662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58825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259783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098326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096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1"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84316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75692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415522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8111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theme" Target="../theme/theme2.xml"/><Relationship Id="rId7" Type="http://schemas.openxmlformats.org/officeDocument/2006/relationships/slideLayout" Target="../slideLayouts/slideLayout74.xml"/><Relationship Id="rId71" Type="http://schemas.openxmlformats.org/officeDocument/2006/relationships/oleObject" Target="../embeddings/oleObject19.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5" Type="http://schemas.openxmlformats.org/officeDocument/2006/relationships/slideLayout" Target="../slideLayouts/slideLayout72.xml"/><Relationship Id="rId61" Type="http://schemas.openxmlformats.org/officeDocument/2006/relationships/slideLayout" Target="../slideLayouts/slideLayout128.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vmlDrawing" Target="../drawings/vmlDrawing19.v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image" Target="../media/image1.emf"/><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tags" Target="../tags/tag32.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0.xml"/><Relationship Id="rId21" Type="http://schemas.openxmlformats.org/officeDocument/2006/relationships/slideLayout" Target="../slideLayouts/slideLayout155.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63" Type="http://schemas.openxmlformats.org/officeDocument/2006/relationships/slideLayout" Target="../slideLayouts/slideLayout197.xml"/><Relationship Id="rId68" Type="http://schemas.openxmlformats.org/officeDocument/2006/relationships/theme" Target="../theme/theme3.xml"/><Relationship Id="rId7" Type="http://schemas.openxmlformats.org/officeDocument/2006/relationships/slideLayout" Target="../slideLayouts/slideLayout141.xml"/><Relationship Id="rId71" Type="http://schemas.openxmlformats.org/officeDocument/2006/relationships/oleObject" Target="../embeddings/oleObject37.bin"/><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66" Type="http://schemas.openxmlformats.org/officeDocument/2006/relationships/slideLayout" Target="../slideLayouts/slideLayout200.xml"/><Relationship Id="rId5" Type="http://schemas.openxmlformats.org/officeDocument/2006/relationships/slideLayout" Target="../slideLayouts/slideLayout139.xml"/><Relationship Id="rId61" Type="http://schemas.openxmlformats.org/officeDocument/2006/relationships/slideLayout" Target="../slideLayouts/slideLayout195.xml"/><Relationship Id="rId19" Type="http://schemas.openxmlformats.org/officeDocument/2006/relationships/slideLayout" Target="../slideLayouts/slideLayout15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56" Type="http://schemas.openxmlformats.org/officeDocument/2006/relationships/slideLayout" Target="../slideLayouts/slideLayout190.xml"/><Relationship Id="rId64" Type="http://schemas.openxmlformats.org/officeDocument/2006/relationships/slideLayout" Target="../slideLayouts/slideLayout198.xml"/><Relationship Id="rId69" Type="http://schemas.openxmlformats.org/officeDocument/2006/relationships/vmlDrawing" Target="../drawings/vmlDrawing37.v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72" Type="http://schemas.openxmlformats.org/officeDocument/2006/relationships/image" Target="../media/image1.emf"/><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59" Type="http://schemas.openxmlformats.org/officeDocument/2006/relationships/slideLayout" Target="../slideLayouts/slideLayout193.xml"/><Relationship Id="rId67" Type="http://schemas.openxmlformats.org/officeDocument/2006/relationships/slideLayout" Target="../slideLayouts/slideLayout201.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54" Type="http://schemas.openxmlformats.org/officeDocument/2006/relationships/slideLayout" Target="../slideLayouts/slideLayout188.xml"/><Relationship Id="rId62" Type="http://schemas.openxmlformats.org/officeDocument/2006/relationships/slideLayout" Target="../slideLayouts/slideLayout196.xml"/><Relationship Id="rId70" Type="http://schemas.openxmlformats.org/officeDocument/2006/relationships/tags" Target="../tags/tag62.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57" Type="http://schemas.openxmlformats.org/officeDocument/2006/relationships/slideLayout" Target="../slideLayouts/slideLayout191.xml"/><Relationship Id="rId10" Type="http://schemas.openxmlformats.org/officeDocument/2006/relationships/slideLayout" Target="../slideLayouts/slideLayout144.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slideLayout" Target="../slideLayouts/slideLayout186.xml"/><Relationship Id="rId60" Type="http://schemas.openxmlformats.org/officeDocument/2006/relationships/slideLayout" Target="../slideLayouts/slideLayout194.xml"/><Relationship Id="rId65" Type="http://schemas.openxmlformats.org/officeDocument/2006/relationships/slideLayout" Target="../slideLayouts/slideLayout199.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9" Type="http://schemas.openxmlformats.org/officeDocument/2006/relationships/slideLayout" Target="../slideLayouts/slideLayout173.xml"/><Relationship Id="rId34" Type="http://schemas.openxmlformats.org/officeDocument/2006/relationships/slideLayout" Target="../slideLayouts/slideLayout168.xml"/><Relationship Id="rId50" Type="http://schemas.openxmlformats.org/officeDocument/2006/relationships/slideLayout" Target="../slideLayouts/slideLayout184.xml"/><Relationship Id="rId55" Type="http://schemas.openxmlformats.org/officeDocument/2006/relationships/slideLayout" Target="../slideLayouts/slideLayout18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7.xml"/><Relationship Id="rId21" Type="http://schemas.openxmlformats.org/officeDocument/2006/relationships/slideLayout" Target="../slideLayouts/slideLayout222.xml"/><Relationship Id="rId42" Type="http://schemas.openxmlformats.org/officeDocument/2006/relationships/slideLayout" Target="../slideLayouts/slideLayout243.xml"/><Relationship Id="rId47" Type="http://schemas.openxmlformats.org/officeDocument/2006/relationships/slideLayout" Target="../slideLayouts/slideLayout248.xml"/><Relationship Id="rId63" Type="http://schemas.openxmlformats.org/officeDocument/2006/relationships/slideLayout" Target="../slideLayouts/slideLayout264.xml"/><Relationship Id="rId68" Type="http://schemas.openxmlformats.org/officeDocument/2006/relationships/theme" Target="../theme/theme4.xml"/><Relationship Id="rId7" Type="http://schemas.openxmlformats.org/officeDocument/2006/relationships/slideLayout" Target="../slideLayouts/slideLayout208.xml"/><Relationship Id="rId71" Type="http://schemas.openxmlformats.org/officeDocument/2006/relationships/oleObject" Target="../embeddings/oleObject55.bin"/><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9" Type="http://schemas.openxmlformats.org/officeDocument/2006/relationships/slideLayout" Target="../slideLayouts/slideLayout230.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32" Type="http://schemas.openxmlformats.org/officeDocument/2006/relationships/slideLayout" Target="../slideLayouts/slideLayout233.xml"/><Relationship Id="rId37" Type="http://schemas.openxmlformats.org/officeDocument/2006/relationships/slideLayout" Target="../slideLayouts/slideLayout238.xml"/><Relationship Id="rId40" Type="http://schemas.openxmlformats.org/officeDocument/2006/relationships/slideLayout" Target="../slideLayouts/slideLayout241.xml"/><Relationship Id="rId45" Type="http://schemas.openxmlformats.org/officeDocument/2006/relationships/slideLayout" Target="../slideLayouts/slideLayout246.xml"/><Relationship Id="rId53" Type="http://schemas.openxmlformats.org/officeDocument/2006/relationships/slideLayout" Target="../slideLayouts/slideLayout254.xml"/><Relationship Id="rId58" Type="http://schemas.openxmlformats.org/officeDocument/2006/relationships/slideLayout" Target="../slideLayouts/slideLayout259.xml"/><Relationship Id="rId66" Type="http://schemas.openxmlformats.org/officeDocument/2006/relationships/slideLayout" Target="../slideLayouts/slideLayout267.xml"/><Relationship Id="rId5" Type="http://schemas.openxmlformats.org/officeDocument/2006/relationships/slideLayout" Target="../slideLayouts/slideLayout206.xml"/><Relationship Id="rId61" Type="http://schemas.openxmlformats.org/officeDocument/2006/relationships/slideLayout" Target="../slideLayouts/slideLayout262.xml"/><Relationship Id="rId19" Type="http://schemas.openxmlformats.org/officeDocument/2006/relationships/slideLayout" Target="../slideLayouts/slideLayout22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slideLayout" Target="../slideLayouts/slideLayout228.xml"/><Relationship Id="rId30" Type="http://schemas.openxmlformats.org/officeDocument/2006/relationships/slideLayout" Target="../slideLayouts/slideLayout231.xml"/><Relationship Id="rId35" Type="http://schemas.openxmlformats.org/officeDocument/2006/relationships/slideLayout" Target="../slideLayouts/slideLayout236.xml"/><Relationship Id="rId43" Type="http://schemas.openxmlformats.org/officeDocument/2006/relationships/slideLayout" Target="../slideLayouts/slideLayout244.xml"/><Relationship Id="rId48" Type="http://schemas.openxmlformats.org/officeDocument/2006/relationships/slideLayout" Target="../slideLayouts/slideLayout249.xml"/><Relationship Id="rId56" Type="http://schemas.openxmlformats.org/officeDocument/2006/relationships/slideLayout" Target="../slideLayouts/slideLayout257.xml"/><Relationship Id="rId64" Type="http://schemas.openxmlformats.org/officeDocument/2006/relationships/slideLayout" Target="../slideLayouts/slideLayout265.xml"/><Relationship Id="rId69" Type="http://schemas.openxmlformats.org/officeDocument/2006/relationships/vmlDrawing" Target="../drawings/vmlDrawing55.vml"/><Relationship Id="rId8" Type="http://schemas.openxmlformats.org/officeDocument/2006/relationships/slideLayout" Target="../slideLayouts/slideLayout209.xml"/><Relationship Id="rId51" Type="http://schemas.openxmlformats.org/officeDocument/2006/relationships/slideLayout" Target="../slideLayouts/slideLayout252.xml"/><Relationship Id="rId72" Type="http://schemas.openxmlformats.org/officeDocument/2006/relationships/image" Target="../media/image1.emf"/><Relationship Id="rId3" Type="http://schemas.openxmlformats.org/officeDocument/2006/relationships/slideLayout" Target="../slideLayouts/slideLayout204.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33" Type="http://schemas.openxmlformats.org/officeDocument/2006/relationships/slideLayout" Target="../slideLayouts/slideLayout234.xml"/><Relationship Id="rId38" Type="http://schemas.openxmlformats.org/officeDocument/2006/relationships/slideLayout" Target="../slideLayouts/slideLayout239.xml"/><Relationship Id="rId46" Type="http://schemas.openxmlformats.org/officeDocument/2006/relationships/slideLayout" Target="../slideLayouts/slideLayout247.xml"/><Relationship Id="rId59" Type="http://schemas.openxmlformats.org/officeDocument/2006/relationships/slideLayout" Target="../slideLayouts/slideLayout260.xml"/><Relationship Id="rId67" Type="http://schemas.openxmlformats.org/officeDocument/2006/relationships/slideLayout" Target="../slideLayouts/slideLayout268.xml"/><Relationship Id="rId20" Type="http://schemas.openxmlformats.org/officeDocument/2006/relationships/slideLayout" Target="../slideLayouts/slideLayout221.xml"/><Relationship Id="rId41" Type="http://schemas.openxmlformats.org/officeDocument/2006/relationships/slideLayout" Target="../slideLayouts/slideLayout242.xml"/><Relationship Id="rId54" Type="http://schemas.openxmlformats.org/officeDocument/2006/relationships/slideLayout" Target="../slideLayouts/slideLayout255.xml"/><Relationship Id="rId62" Type="http://schemas.openxmlformats.org/officeDocument/2006/relationships/slideLayout" Target="../slideLayouts/slideLayout263.xml"/><Relationship Id="rId70" Type="http://schemas.openxmlformats.org/officeDocument/2006/relationships/tags" Target="../tags/tag92.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slideLayout" Target="../slideLayouts/slideLayout229.xml"/><Relationship Id="rId36" Type="http://schemas.openxmlformats.org/officeDocument/2006/relationships/slideLayout" Target="../slideLayouts/slideLayout237.xml"/><Relationship Id="rId49" Type="http://schemas.openxmlformats.org/officeDocument/2006/relationships/slideLayout" Target="../slideLayouts/slideLayout250.xml"/><Relationship Id="rId57" Type="http://schemas.openxmlformats.org/officeDocument/2006/relationships/slideLayout" Target="../slideLayouts/slideLayout258.xml"/><Relationship Id="rId10" Type="http://schemas.openxmlformats.org/officeDocument/2006/relationships/slideLayout" Target="../slideLayouts/slideLayout211.xml"/><Relationship Id="rId31" Type="http://schemas.openxmlformats.org/officeDocument/2006/relationships/slideLayout" Target="../slideLayouts/slideLayout232.xml"/><Relationship Id="rId44" Type="http://schemas.openxmlformats.org/officeDocument/2006/relationships/slideLayout" Target="../slideLayouts/slideLayout245.xml"/><Relationship Id="rId52" Type="http://schemas.openxmlformats.org/officeDocument/2006/relationships/slideLayout" Target="../slideLayouts/slideLayout253.xml"/><Relationship Id="rId60" Type="http://schemas.openxmlformats.org/officeDocument/2006/relationships/slideLayout" Target="../slideLayouts/slideLayout261.xml"/><Relationship Id="rId65" Type="http://schemas.openxmlformats.org/officeDocument/2006/relationships/slideLayout" Target="../slideLayouts/slideLayout266.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9" Type="http://schemas.openxmlformats.org/officeDocument/2006/relationships/slideLayout" Target="../slideLayouts/slideLayout240.xml"/><Relationship Id="rId34" Type="http://schemas.openxmlformats.org/officeDocument/2006/relationships/slideLayout" Target="../slideLayouts/slideLayout235.xml"/><Relationship Id="rId50" Type="http://schemas.openxmlformats.org/officeDocument/2006/relationships/slideLayout" Target="../slideLayouts/slideLayout251.xml"/><Relationship Id="rId55" Type="http://schemas.openxmlformats.org/officeDocument/2006/relationships/slideLayout" Target="../slideLayouts/slideLayout25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94.xml"/><Relationship Id="rId21" Type="http://schemas.openxmlformats.org/officeDocument/2006/relationships/slideLayout" Target="../slideLayouts/slideLayout289.xml"/><Relationship Id="rId42" Type="http://schemas.openxmlformats.org/officeDocument/2006/relationships/slideLayout" Target="../slideLayouts/slideLayout310.xml"/><Relationship Id="rId47" Type="http://schemas.openxmlformats.org/officeDocument/2006/relationships/slideLayout" Target="../slideLayouts/slideLayout315.xml"/><Relationship Id="rId63" Type="http://schemas.openxmlformats.org/officeDocument/2006/relationships/slideLayout" Target="../slideLayouts/slideLayout331.xml"/><Relationship Id="rId68" Type="http://schemas.openxmlformats.org/officeDocument/2006/relationships/theme" Target="../theme/theme5.xml"/><Relationship Id="rId7" Type="http://schemas.openxmlformats.org/officeDocument/2006/relationships/slideLayout" Target="../slideLayouts/slideLayout275.xml"/><Relationship Id="rId71" Type="http://schemas.openxmlformats.org/officeDocument/2006/relationships/oleObject" Target="../embeddings/oleObject73.bin"/><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9" Type="http://schemas.openxmlformats.org/officeDocument/2006/relationships/slideLayout" Target="../slideLayouts/slideLayout297.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slideLayout" Target="../slideLayouts/slideLayout300.xml"/><Relationship Id="rId37" Type="http://schemas.openxmlformats.org/officeDocument/2006/relationships/slideLayout" Target="../slideLayouts/slideLayout305.xml"/><Relationship Id="rId40" Type="http://schemas.openxmlformats.org/officeDocument/2006/relationships/slideLayout" Target="../slideLayouts/slideLayout308.xml"/><Relationship Id="rId45" Type="http://schemas.openxmlformats.org/officeDocument/2006/relationships/slideLayout" Target="../slideLayouts/slideLayout313.xml"/><Relationship Id="rId53" Type="http://schemas.openxmlformats.org/officeDocument/2006/relationships/slideLayout" Target="../slideLayouts/slideLayout321.xml"/><Relationship Id="rId58" Type="http://schemas.openxmlformats.org/officeDocument/2006/relationships/slideLayout" Target="../slideLayouts/slideLayout326.xml"/><Relationship Id="rId66" Type="http://schemas.openxmlformats.org/officeDocument/2006/relationships/slideLayout" Target="../slideLayouts/slideLayout334.xml"/><Relationship Id="rId5" Type="http://schemas.openxmlformats.org/officeDocument/2006/relationships/slideLayout" Target="../slideLayouts/slideLayout273.xml"/><Relationship Id="rId61" Type="http://schemas.openxmlformats.org/officeDocument/2006/relationships/slideLayout" Target="../slideLayouts/slideLayout329.xml"/><Relationship Id="rId19" Type="http://schemas.openxmlformats.org/officeDocument/2006/relationships/slideLayout" Target="../slideLayouts/slideLayout28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 Id="rId30" Type="http://schemas.openxmlformats.org/officeDocument/2006/relationships/slideLayout" Target="../slideLayouts/slideLayout298.xml"/><Relationship Id="rId35" Type="http://schemas.openxmlformats.org/officeDocument/2006/relationships/slideLayout" Target="../slideLayouts/slideLayout303.xml"/><Relationship Id="rId43" Type="http://schemas.openxmlformats.org/officeDocument/2006/relationships/slideLayout" Target="../slideLayouts/slideLayout311.xml"/><Relationship Id="rId48" Type="http://schemas.openxmlformats.org/officeDocument/2006/relationships/slideLayout" Target="../slideLayouts/slideLayout316.xml"/><Relationship Id="rId56" Type="http://schemas.openxmlformats.org/officeDocument/2006/relationships/slideLayout" Target="../slideLayouts/slideLayout324.xml"/><Relationship Id="rId64" Type="http://schemas.openxmlformats.org/officeDocument/2006/relationships/slideLayout" Target="../slideLayouts/slideLayout332.xml"/><Relationship Id="rId69" Type="http://schemas.openxmlformats.org/officeDocument/2006/relationships/vmlDrawing" Target="../drawings/vmlDrawing73.vml"/><Relationship Id="rId8" Type="http://schemas.openxmlformats.org/officeDocument/2006/relationships/slideLayout" Target="../slideLayouts/slideLayout276.xml"/><Relationship Id="rId51" Type="http://schemas.openxmlformats.org/officeDocument/2006/relationships/slideLayout" Target="../slideLayouts/slideLayout319.xml"/><Relationship Id="rId72" Type="http://schemas.openxmlformats.org/officeDocument/2006/relationships/image" Target="../media/image1.emf"/><Relationship Id="rId3" Type="http://schemas.openxmlformats.org/officeDocument/2006/relationships/slideLayout" Target="../slideLayouts/slideLayout271.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33" Type="http://schemas.openxmlformats.org/officeDocument/2006/relationships/slideLayout" Target="../slideLayouts/slideLayout301.xml"/><Relationship Id="rId38" Type="http://schemas.openxmlformats.org/officeDocument/2006/relationships/slideLayout" Target="../slideLayouts/slideLayout306.xml"/><Relationship Id="rId46" Type="http://schemas.openxmlformats.org/officeDocument/2006/relationships/slideLayout" Target="../slideLayouts/slideLayout314.xml"/><Relationship Id="rId59" Type="http://schemas.openxmlformats.org/officeDocument/2006/relationships/slideLayout" Target="../slideLayouts/slideLayout327.xml"/><Relationship Id="rId67" Type="http://schemas.openxmlformats.org/officeDocument/2006/relationships/slideLayout" Target="../slideLayouts/slideLayout335.xml"/><Relationship Id="rId20" Type="http://schemas.openxmlformats.org/officeDocument/2006/relationships/slideLayout" Target="../slideLayouts/slideLayout288.xml"/><Relationship Id="rId41" Type="http://schemas.openxmlformats.org/officeDocument/2006/relationships/slideLayout" Target="../slideLayouts/slideLayout309.xml"/><Relationship Id="rId54" Type="http://schemas.openxmlformats.org/officeDocument/2006/relationships/slideLayout" Target="../slideLayouts/slideLayout322.xml"/><Relationship Id="rId62" Type="http://schemas.openxmlformats.org/officeDocument/2006/relationships/slideLayout" Target="../slideLayouts/slideLayout330.xml"/><Relationship Id="rId70" Type="http://schemas.openxmlformats.org/officeDocument/2006/relationships/tags" Target="../tags/tag122.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slideLayout" Target="../slideLayouts/slideLayout296.xml"/><Relationship Id="rId36" Type="http://schemas.openxmlformats.org/officeDocument/2006/relationships/slideLayout" Target="../slideLayouts/slideLayout304.xml"/><Relationship Id="rId49" Type="http://schemas.openxmlformats.org/officeDocument/2006/relationships/slideLayout" Target="../slideLayouts/slideLayout317.xml"/><Relationship Id="rId57" Type="http://schemas.openxmlformats.org/officeDocument/2006/relationships/slideLayout" Target="../slideLayouts/slideLayout325.xml"/><Relationship Id="rId10" Type="http://schemas.openxmlformats.org/officeDocument/2006/relationships/slideLayout" Target="../slideLayouts/slideLayout278.xml"/><Relationship Id="rId31" Type="http://schemas.openxmlformats.org/officeDocument/2006/relationships/slideLayout" Target="../slideLayouts/slideLayout299.xml"/><Relationship Id="rId44" Type="http://schemas.openxmlformats.org/officeDocument/2006/relationships/slideLayout" Target="../slideLayouts/slideLayout312.xml"/><Relationship Id="rId52" Type="http://schemas.openxmlformats.org/officeDocument/2006/relationships/slideLayout" Target="../slideLayouts/slideLayout320.xml"/><Relationship Id="rId60" Type="http://schemas.openxmlformats.org/officeDocument/2006/relationships/slideLayout" Target="../slideLayouts/slideLayout328.xml"/><Relationship Id="rId65" Type="http://schemas.openxmlformats.org/officeDocument/2006/relationships/slideLayout" Target="../slideLayouts/slideLayout333.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39" Type="http://schemas.openxmlformats.org/officeDocument/2006/relationships/slideLayout" Target="../slideLayouts/slideLayout307.xml"/><Relationship Id="rId34" Type="http://schemas.openxmlformats.org/officeDocument/2006/relationships/slideLayout" Target="../slideLayouts/slideLayout302.xml"/><Relationship Id="rId50" Type="http://schemas.openxmlformats.org/officeDocument/2006/relationships/slideLayout" Target="../slideLayouts/slideLayout318.xml"/><Relationship Id="rId55" Type="http://schemas.openxmlformats.org/officeDocument/2006/relationships/slideLayout" Target="../slideLayouts/slideLayout3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819590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2714043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466180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3"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81233947"/>
      </p:ext>
    </p:extLst>
  </p:cSld>
  <p:clrMap bg1="lt1" tx1="dk1" bg2="lt2" tx2="dk2" accent1="accent1" accent2="accent2" accent3="accent3" accent4="accent4" accent5="accent5" accent6="accent6" hlink="hlink" folHlink="folHlink"/>
  <p:sldLayoutIdLst>
    <p:sldLayoutId id="2147485254" r:id="rId1"/>
    <p:sldLayoutId id="2147485255" r:id="rId2"/>
    <p:sldLayoutId id="2147485256" r:id="rId3"/>
    <p:sldLayoutId id="2147485257" r:id="rId4"/>
    <p:sldLayoutId id="2147485258" r:id="rId5"/>
    <p:sldLayoutId id="2147485259" r:id="rId6"/>
    <p:sldLayoutId id="2147485260" r:id="rId7"/>
    <p:sldLayoutId id="2147485261" r:id="rId8"/>
    <p:sldLayoutId id="2147485262" r:id="rId9"/>
    <p:sldLayoutId id="2147485263" r:id="rId10"/>
    <p:sldLayoutId id="2147485264" r:id="rId11"/>
    <p:sldLayoutId id="2147485265" r:id="rId12"/>
    <p:sldLayoutId id="2147485266" r:id="rId13"/>
    <p:sldLayoutId id="2147485267" r:id="rId14"/>
    <p:sldLayoutId id="2147485268" r:id="rId15"/>
    <p:sldLayoutId id="2147485269" r:id="rId16"/>
    <p:sldLayoutId id="2147485270" r:id="rId17"/>
    <p:sldLayoutId id="2147485271" r:id="rId18"/>
    <p:sldLayoutId id="2147485272" r:id="rId19"/>
    <p:sldLayoutId id="2147485273" r:id="rId20"/>
    <p:sldLayoutId id="2147485274" r:id="rId21"/>
    <p:sldLayoutId id="2147485275" r:id="rId22"/>
    <p:sldLayoutId id="2147485276" r:id="rId23"/>
    <p:sldLayoutId id="2147485277" r:id="rId24"/>
    <p:sldLayoutId id="2147485278" r:id="rId25"/>
    <p:sldLayoutId id="2147485279" r:id="rId26"/>
    <p:sldLayoutId id="2147485280" r:id="rId27"/>
    <p:sldLayoutId id="2147485281" r:id="rId28"/>
    <p:sldLayoutId id="2147485282" r:id="rId29"/>
    <p:sldLayoutId id="2147485283" r:id="rId30"/>
    <p:sldLayoutId id="2147485284" r:id="rId31"/>
    <p:sldLayoutId id="2147485285" r:id="rId32"/>
    <p:sldLayoutId id="2147485286" r:id="rId33"/>
    <p:sldLayoutId id="2147485287" r:id="rId34"/>
    <p:sldLayoutId id="2147485288" r:id="rId35"/>
    <p:sldLayoutId id="2147485289" r:id="rId36"/>
    <p:sldLayoutId id="2147485290" r:id="rId37"/>
    <p:sldLayoutId id="2147485291" r:id="rId38"/>
    <p:sldLayoutId id="2147485292" r:id="rId39"/>
    <p:sldLayoutId id="2147485293" r:id="rId40"/>
    <p:sldLayoutId id="2147485294" r:id="rId41"/>
    <p:sldLayoutId id="2147485295" r:id="rId42"/>
    <p:sldLayoutId id="2147485296" r:id="rId43"/>
    <p:sldLayoutId id="2147485297" r:id="rId44"/>
    <p:sldLayoutId id="2147485298" r:id="rId45"/>
    <p:sldLayoutId id="2147485299" r:id="rId46"/>
    <p:sldLayoutId id="2147485300" r:id="rId47"/>
    <p:sldLayoutId id="2147485301" r:id="rId48"/>
    <p:sldLayoutId id="2147485302" r:id="rId49"/>
    <p:sldLayoutId id="2147485303" r:id="rId50"/>
    <p:sldLayoutId id="2147485304" r:id="rId51"/>
    <p:sldLayoutId id="2147485305" r:id="rId52"/>
    <p:sldLayoutId id="2147485306" r:id="rId53"/>
    <p:sldLayoutId id="2147485307" r:id="rId54"/>
    <p:sldLayoutId id="2147485308" r:id="rId55"/>
    <p:sldLayoutId id="2147485309" r:id="rId56"/>
    <p:sldLayoutId id="2147485310" r:id="rId57"/>
    <p:sldLayoutId id="2147485311" r:id="rId58"/>
    <p:sldLayoutId id="2147485312" r:id="rId59"/>
    <p:sldLayoutId id="2147485313" r:id="rId60"/>
    <p:sldLayoutId id="2147485314" r:id="rId61"/>
    <p:sldLayoutId id="2147485315" r:id="rId62"/>
    <p:sldLayoutId id="2147485316" r:id="rId63"/>
    <p:sldLayoutId id="2147485317" r:id="rId64"/>
    <p:sldLayoutId id="2147485318" r:id="rId65"/>
    <p:sldLayoutId id="2147485319" r:id="rId66"/>
    <p:sldLayoutId id="214748532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501692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5"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254847126"/>
      </p:ext>
    </p:extLst>
  </p:cSld>
  <p:clrMap bg1="lt1" tx1="dk1" bg2="lt2" tx2="dk2" accent1="accent1" accent2="accent2" accent3="accent3" accent4="accent4" accent5="accent5" accent6="accent6" hlink="hlink" folHlink="folHlink"/>
  <p:sldLayoutIdLst>
    <p:sldLayoutId id="2147485322" r:id="rId1"/>
    <p:sldLayoutId id="2147485323" r:id="rId2"/>
    <p:sldLayoutId id="2147485324" r:id="rId3"/>
    <p:sldLayoutId id="2147485325" r:id="rId4"/>
    <p:sldLayoutId id="2147485326" r:id="rId5"/>
    <p:sldLayoutId id="2147485327" r:id="rId6"/>
    <p:sldLayoutId id="2147485328" r:id="rId7"/>
    <p:sldLayoutId id="2147485329" r:id="rId8"/>
    <p:sldLayoutId id="2147485330" r:id="rId9"/>
    <p:sldLayoutId id="2147485331" r:id="rId10"/>
    <p:sldLayoutId id="2147485332" r:id="rId11"/>
    <p:sldLayoutId id="2147485333" r:id="rId12"/>
    <p:sldLayoutId id="2147485334" r:id="rId13"/>
    <p:sldLayoutId id="2147485335" r:id="rId14"/>
    <p:sldLayoutId id="2147485336" r:id="rId15"/>
    <p:sldLayoutId id="2147485337" r:id="rId16"/>
    <p:sldLayoutId id="2147485338" r:id="rId17"/>
    <p:sldLayoutId id="2147485339" r:id="rId18"/>
    <p:sldLayoutId id="2147485340" r:id="rId19"/>
    <p:sldLayoutId id="2147485341" r:id="rId20"/>
    <p:sldLayoutId id="2147485342" r:id="rId21"/>
    <p:sldLayoutId id="2147485343" r:id="rId22"/>
    <p:sldLayoutId id="2147485344" r:id="rId23"/>
    <p:sldLayoutId id="2147485345" r:id="rId24"/>
    <p:sldLayoutId id="2147485346" r:id="rId25"/>
    <p:sldLayoutId id="2147485347" r:id="rId26"/>
    <p:sldLayoutId id="2147485348" r:id="rId27"/>
    <p:sldLayoutId id="2147485349" r:id="rId28"/>
    <p:sldLayoutId id="2147485350" r:id="rId29"/>
    <p:sldLayoutId id="2147485351" r:id="rId30"/>
    <p:sldLayoutId id="2147485352" r:id="rId31"/>
    <p:sldLayoutId id="2147485353" r:id="rId32"/>
    <p:sldLayoutId id="2147485354" r:id="rId33"/>
    <p:sldLayoutId id="2147485355" r:id="rId34"/>
    <p:sldLayoutId id="2147485356" r:id="rId35"/>
    <p:sldLayoutId id="2147485357" r:id="rId36"/>
    <p:sldLayoutId id="2147485358"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 id="2147485374" r:id="rId53"/>
    <p:sldLayoutId id="2147485375" r:id="rId54"/>
    <p:sldLayoutId id="2147485376" r:id="rId55"/>
    <p:sldLayoutId id="2147485377" r:id="rId56"/>
    <p:sldLayoutId id="2147485378" r:id="rId57"/>
    <p:sldLayoutId id="2147485379" r:id="rId58"/>
    <p:sldLayoutId id="2147485380" r:id="rId59"/>
    <p:sldLayoutId id="2147485381" r:id="rId60"/>
    <p:sldLayoutId id="2147485382" r:id="rId61"/>
    <p:sldLayoutId id="2147485383" r:id="rId62"/>
    <p:sldLayoutId id="2147485384" r:id="rId63"/>
    <p:sldLayoutId id="2147485385" r:id="rId64"/>
    <p:sldLayoutId id="2147485386" r:id="rId65"/>
    <p:sldLayoutId id="2147485387" r:id="rId66"/>
    <p:sldLayoutId id="2147485388"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41121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7"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150463565"/>
      </p:ext>
    </p:extLst>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 id="2147485399" r:id="rId10"/>
    <p:sldLayoutId id="2147485400" r:id="rId11"/>
    <p:sldLayoutId id="2147485401" r:id="rId12"/>
    <p:sldLayoutId id="2147485402" r:id="rId13"/>
    <p:sldLayoutId id="2147485403" r:id="rId14"/>
    <p:sldLayoutId id="2147485404" r:id="rId15"/>
    <p:sldLayoutId id="2147485405" r:id="rId16"/>
    <p:sldLayoutId id="2147485406" r:id="rId17"/>
    <p:sldLayoutId id="2147485407" r:id="rId18"/>
    <p:sldLayoutId id="2147485408" r:id="rId19"/>
    <p:sldLayoutId id="2147485409" r:id="rId20"/>
    <p:sldLayoutId id="2147485410" r:id="rId21"/>
    <p:sldLayoutId id="2147485411" r:id="rId22"/>
    <p:sldLayoutId id="2147485412" r:id="rId23"/>
    <p:sldLayoutId id="2147485413" r:id="rId24"/>
    <p:sldLayoutId id="2147485414" r:id="rId25"/>
    <p:sldLayoutId id="2147485415" r:id="rId26"/>
    <p:sldLayoutId id="2147485416" r:id="rId27"/>
    <p:sldLayoutId id="2147485417" r:id="rId28"/>
    <p:sldLayoutId id="2147485418" r:id="rId29"/>
    <p:sldLayoutId id="2147485419" r:id="rId30"/>
    <p:sldLayoutId id="2147485420" r:id="rId31"/>
    <p:sldLayoutId id="2147485421" r:id="rId32"/>
    <p:sldLayoutId id="2147485422" r:id="rId33"/>
    <p:sldLayoutId id="2147485423" r:id="rId34"/>
    <p:sldLayoutId id="2147485424" r:id="rId35"/>
    <p:sldLayoutId id="2147485425" r:id="rId36"/>
    <p:sldLayoutId id="2147485426" r:id="rId37"/>
    <p:sldLayoutId id="2147485427" r:id="rId38"/>
    <p:sldLayoutId id="2147485428" r:id="rId39"/>
    <p:sldLayoutId id="2147485429" r:id="rId40"/>
    <p:sldLayoutId id="2147485430" r:id="rId41"/>
    <p:sldLayoutId id="2147485431" r:id="rId42"/>
    <p:sldLayoutId id="2147485432" r:id="rId43"/>
    <p:sldLayoutId id="2147485433" r:id="rId44"/>
    <p:sldLayoutId id="2147485434" r:id="rId45"/>
    <p:sldLayoutId id="2147485435" r:id="rId46"/>
    <p:sldLayoutId id="2147485436" r:id="rId47"/>
    <p:sldLayoutId id="2147485437" r:id="rId48"/>
    <p:sldLayoutId id="2147485438" r:id="rId49"/>
    <p:sldLayoutId id="2147485439" r:id="rId50"/>
    <p:sldLayoutId id="2147485440" r:id="rId51"/>
    <p:sldLayoutId id="2147485441" r:id="rId52"/>
    <p:sldLayoutId id="2147485442" r:id="rId53"/>
    <p:sldLayoutId id="2147485443" r:id="rId54"/>
    <p:sldLayoutId id="2147485444" r:id="rId55"/>
    <p:sldLayoutId id="2147485445" r:id="rId56"/>
    <p:sldLayoutId id="2147485446" r:id="rId57"/>
    <p:sldLayoutId id="2147485447" r:id="rId58"/>
    <p:sldLayoutId id="2147485448" r:id="rId59"/>
    <p:sldLayoutId id="2147485449" r:id="rId60"/>
    <p:sldLayoutId id="2147485450" r:id="rId61"/>
    <p:sldLayoutId id="2147485451" r:id="rId62"/>
    <p:sldLayoutId id="2147485452" r:id="rId63"/>
    <p:sldLayoutId id="2147485453" r:id="rId64"/>
    <p:sldLayoutId id="2147485454" r:id="rId65"/>
    <p:sldLayoutId id="2147485455" r:id="rId66"/>
    <p:sldLayoutId id="214748545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2.emf"/><Relationship Id="rId2" Type="http://schemas.openxmlformats.org/officeDocument/2006/relationships/tags" Target="../tags/tag152.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68.xml"/><Relationship Id="rId1" Type="http://schemas.openxmlformats.org/officeDocument/2006/relationships/vmlDrawing" Target="../drawings/vmlDrawing100.vml"/><Relationship Id="rId6" Type="http://schemas.openxmlformats.org/officeDocument/2006/relationships/image" Target="../media/image27.png"/><Relationship Id="rId5" Type="http://schemas.openxmlformats.org/officeDocument/2006/relationships/image" Target="../media/image23.emf"/><Relationship Id="rId4" Type="http://schemas.openxmlformats.org/officeDocument/2006/relationships/oleObject" Target="../embeddings/oleObject101.bin"/></Relationships>
</file>

<file path=ppt/slides/_rels/slide11.xml.rels><?xml version="1.0" encoding="UTF-8" standalone="yes"?>
<Relationships xmlns="http://schemas.openxmlformats.org/package/2006/relationships"><Relationship Id="rId8" Type="http://schemas.openxmlformats.org/officeDocument/2006/relationships/hyperlink" Target="http://localhost:5000/api/v1/reference-calendars" TargetMode="External"/><Relationship Id="rId3" Type="http://schemas.openxmlformats.org/officeDocument/2006/relationships/tags" Target="../tags/tag170.xml"/><Relationship Id="rId7" Type="http://schemas.openxmlformats.org/officeDocument/2006/relationships/hyperlink" Target="https://www.bing.com/search?q=training-Python/08.+Python+Hackathons/201902+-+Credit+Risk+Model/0+Hackathon+2019+-+Problem+Statement+%26+Data/03_Data+at+master+%C2%B7+Global-GAMMA-SnA/training-Python&amp;src=IE-SearchBox&amp;FORM=IESR4A" TargetMode="External"/><Relationship Id="rId12" Type="http://schemas.openxmlformats.org/officeDocument/2006/relationships/hyperlink" Target="http://localhost:5000/api/v1/detailed-table" TargetMode="External"/><Relationship Id="rId2" Type="http://schemas.openxmlformats.org/officeDocument/2006/relationships/tags" Target="../tags/tag169.xml"/><Relationship Id="rId1" Type="http://schemas.openxmlformats.org/officeDocument/2006/relationships/vmlDrawing" Target="../drawings/vmlDrawing101.vml"/><Relationship Id="rId6" Type="http://schemas.openxmlformats.org/officeDocument/2006/relationships/image" Target="../media/image9.emf"/><Relationship Id="rId11" Type="http://schemas.openxmlformats.org/officeDocument/2006/relationships/hyperlink" Target="http://localhost:5000/api/v1/campaign-matrix" TargetMode="External"/><Relationship Id="rId5" Type="http://schemas.openxmlformats.org/officeDocument/2006/relationships/oleObject" Target="../embeddings/oleObject102.bin"/><Relationship Id="rId10" Type="http://schemas.openxmlformats.org/officeDocument/2006/relationships/hyperlink" Target="http://localhost:5000/api/v1/products" TargetMode="External"/><Relationship Id="rId4" Type="http://schemas.openxmlformats.org/officeDocument/2006/relationships/slideLayout" Target="../slideLayouts/slideLayout97.xml"/><Relationship Id="rId9" Type="http://schemas.openxmlformats.org/officeDocument/2006/relationships/hyperlink" Target="http://localhost:5000/api/v1/calendars" TargetMode="Externa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30.png"/><Relationship Id="rId3" Type="http://schemas.openxmlformats.org/officeDocument/2006/relationships/slideLayout" Target="../slideLayouts/slideLayout105.xml"/><Relationship Id="rId7" Type="http://schemas.openxmlformats.org/officeDocument/2006/relationships/diagramLayout" Target="../diagrams/layout1.xml"/><Relationship Id="rId12" Type="http://schemas.openxmlformats.org/officeDocument/2006/relationships/image" Target="../media/image29.svg"/><Relationship Id="rId2" Type="http://schemas.openxmlformats.org/officeDocument/2006/relationships/tags" Target="../tags/tag171.xml"/><Relationship Id="rId1" Type="http://schemas.openxmlformats.org/officeDocument/2006/relationships/vmlDrawing" Target="../drawings/vmlDrawing102.vml"/><Relationship Id="rId6" Type="http://schemas.openxmlformats.org/officeDocument/2006/relationships/diagramData" Target="../diagrams/data1.xml"/><Relationship Id="rId11" Type="http://schemas.openxmlformats.org/officeDocument/2006/relationships/image" Target="../media/image28.png"/><Relationship Id="rId5" Type="http://schemas.openxmlformats.org/officeDocument/2006/relationships/image" Target="../media/image23.emf"/><Relationship Id="rId10" Type="http://schemas.microsoft.com/office/2007/relationships/diagramDrawing" Target="../diagrams/drawing1.xml"/><Relationship Id="rId4" Type="http://schemas.openxmlformats.org/officeDocument/2006/relationships/oleObject" Target="../embeddings/oleObject103.bin"/><Relationship Id="rId9" Type="http://schemas.openxmlformats.org/officeDocument/2006/relationships/diagramColors" Target="../diagrams/colors1.xml"/><Relationship Id="rId14" Type="http://schemas.openxmlformats.org/officeDocument/2006/relationships/image" Target="../media/image31.svg"/></Relationships>
</file>

<file path=ppt/slides/_rels/slide1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tags" Target="../tags/tag173.xml"/><Relationship Id="rId7" Type="http://schemas.openxmlformats.org/officeDocument/2006/relationships/image" Target="../media/image32.png"/><Relationship Id="rId2" Type="http://schemas.openxmlformats.org/officeDocument/2006/relationships/tags" Target="../tags/tag172.xml"/><Relationship Id="rId1" Type="http://schemas.openxmlformats.org/officeDocument/2006/relationships/vmlDrawing" Target="../drawings/vmlDrawing103.vml"/><Relationship Id="rId6" Type="http://schemas.openxmlformats.org/officeDocument/2006/relationships/image" Target="../media/image9.emf"/><Relationship Id="rId5" Type="http://schemas.openxmlformats.org/officeDocument/2006/relationships/oleObject" Target="../embeddings/oleObject104.bin"/><Relationship Id="rId10" Type="http://schemas.openxmlformats.org/officeDocument/2006/relationships/hyperlink" Target="mailto:Gauniyal.Rakesh@bcg.com" TargetMode="External"/><Relationship Id="rId4" Type="http://schemas.openxmlformats.org/officeDocument/2006/relationships/slideLayout" Target="../slideLayouts/slideLayout38.xml"/><Relationship Id="rId9" Type="http://schemas.openxmlformats.org/officeDocument/2006/relationships/hyperlink" Target="mailto:Ali.Mearaj@bcg.com" TargetMode="External"/></Relationships>
</file>

<file path=ppt/slides/_rels/slide14.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34.jpeg"/><Relationship Id="rId2" Type="http://schemas.openxmlformats.org/officeDocument/2006/relationships/tags" Target="../tags/tag174.xml"/><Relationship Id="rId1" Type="http://schemas.openxmlformats.org/officeDocument/2006/relationships/vmlDrawing" Target="../drawings/vmlDrawing104.vml"/><Relationship Id="rId6" Type="http://schemas.openxmlformats.org/officeDocument/2006/relationships/image" Target="../media/image10.emf"/><Relationship Id="rId5" Type="http://schemas.openxmlformats.org/officeDocument/2006/relationships/oleObject" Target="../embeddings/oleObject105.bin"/><Relationship Id="rId4"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image" Target="../media/image13.png"/><Relationship Id="rId3" Type="http://schemas.openxmlformats.org/officeDocument/2006/relationships/tags" Target="../tags/tag155.xml"/><Relationship Id="rId7" Type="http://schemas.openxmlformats.org/officeDocument/2006/relationships/oleObject" Target="../embeddings/oleObject92.bin"/><Relationship Id="rId12" Type="http://schemas.openxmlformats.org/officeDocument/2006/relationships/image" Target="../media/image12.svg"/><Relationship Id="rId2" Type="http://schemas.openxmlformats.org/officeDocument/2006/relationships/tags" Target="../tags/tag154.xml"/><Relationship Id="rId1" Type="http://schemas.openxmlformats.org/officeDocument/2006/relationships/vmlDrawing" Target="../drawings/vmlDrawing92.vml"/><Relationship Id="rId6" Type="http://schemas.openxmlformats.org/officeDocument/2006/relationships/notesSlide" Target="../notesSlides/notesSlide2.xml"/><Relationship Id="rId11" Type="http://schemas.openxmlformats.org/officeDocument/2006/relationships/image" Target="../media/image11.png"/><Relationship Id="rId5" Type="http://schemas.openxmlformats.org/officeDocument/2006/relationships/slideLayout" Target="../slideLayouts/slideLayout136.xml"/><Relationship Id="rId10" Type="http://schemas.openxmlformats.org/officeDocument/2006/relationships/image" Target="../media/image10.emf"/><Relationship Id="rId4" Type="http://schemas.openxmlformats.org/officeDocument/2006/relationships/tags" Target="../tags/tag156.xml"/><Relationship Id="rId9" Type="http://schemas.openxmlformats.org/officeDocument/2006/relationships/oleObject" Target="../embeddings/oleObject93.bin"/><Relationship Id="rId14" Type="http://schemas.openxmlformats.org/officeDocument/2006/relationships/image" Target="../media/image14.svg"/></Relationships>
</file>

<file path=ppt/slides/_rels/slide3.xml.rels><?xml version="1.0" encoding="UTF-8" standalone="yes"?>
<Relationships xmlns="http://schemas.openxmlformats.org/package/2006/relationships"><Relationship Id="rId8" Type="http://schemas.openxmlformats.org/officeDocument/2006/relationships/hyperlink" Target="https://www.geeksforgeeks.org/python-introduction-to-web-development-using-flask/" TargetMode="External"/><Relationship Id="rId13" Type="http://schemas.openxmlformats.org/officeDocument/2006/relationships/hyperlink" Target="https://developer.mozilla.org/en-US/docs/Web/JavaScript/Guide/Using_promises" TargetMode="External"/><Relationship Id="rId18" Type="http://schemas.openxmlformats.org/officeDocument/2006/relationships/hyperlink" Target="https://restfulapi.net/" TargetMode="External"/><Relationship Id="rId26" Type="http://schemas.openxmlformats.org/officeDocument/2006/relationships/image" Target="../media/image17.png"/><Relationship Id="rId3" Type="http://schemas.openxmlformats.org/officeDocument/2006/relationships/tags" Target="../tags/tag158.xml"/><Relationship Id="rId21" Type="http://schemas.openxmlformats.org/officeDocument/2006/relationships/hyperlink" Target="https://reactjs.org/docs/components-and-props.html" TargetMode="External"/><Relationship Id="rId7" Type="http://schemas.openxmlformats.org/officeDocument/2006/relationships/image" Target="../media/image9.emf"/><Relationship Id="rId12" Type="http://schemas.openxmlformats.org/officeDocument/2006/relationships/hyperlink" Target="https://developer.mozilla.org/en-US/docs/Learn/JavaScript/Objects/Object-oriented_JS" TargetMode="External"/><Relationship Id="rId17" Type="http://schemas.openxmlformats.org/officeDocument/2006/relationships/hyperlink" Target="https://developer.mozilla.org/en-US/docs/Web/JavaScript/Guide/Modules" TargetMode="External"/><Relationship Id="rId25" Type="http://schemas.openxmlformats.org/officeDocument/2006/relationships/image" Target="../media/image16.png"/><Relationship Id="rId2" Type="http://schemas.openxmlformats.org/officeDocument/2006/relationships/tags" Target="../tags/tag157.xml"/><Relationship Id="rId16" Type="http://schemas.openxmlformats.org/officeDocument/2006/relationships/hyperlink" Target="https://developer.mozilla.org/en-US/docs/Web/JavaScript/Guide/Working_with_Objects" TargetMode="External"/><Relationship Id="rId20" Type="http://schemas.openxmlformats.org/officeDocument/2006/relationships/hyperlink" Target="https://reactjs.org/tutorial/tutorial.html" TargetMode="External"/><Relationship Id="rId29" Type="http://schemas.openxmlformats.org/officeDocument/2006/relationships/hyperlink" Target="https://redux.js.org/introduction/core-concepts" TargetMode="External"/><Relationship Id="rId1" Type="http://schemas.openxmlformats.org/officeDocument/2006/relationships/vmlDrawing" Target="../drawings/vmlDrawing93.vml"/><Relationship Id="rId6" Type="http://schemas.openxmlformats.org/officeDocument/2006/relationships/oleObject" Target="../embeddings/oleObject94.bin"/><Relationship Id="rId11" Type="http://schemas.openxmlformats.org/officeDocument/2006/relationships/hyperlink" Target="https://developer.mozilla.org/en-US/docs/Web/JavaScript/Guide/Functions" TargetMode="External"/><Relationship Id="rId24" Type="http://schemas.openxmlformats.org/officeDocument/2006/relationships/image" Target="../media/image15.png"/><Relationship Id="rId32" Type="http://schemas.openxmlformats.org/officeDocument/2006/relationships/image" Target="../media/image19.png"/><Relationship Id="rId5" Type="http://schemas.openxmlformats.org/officeDocument/2006/relationships/notesSlide" Target="../notesSlides/notesSlide3.xml"/><Relationship Id="rId15" Type="http://schemas.openxmlformats.org/officeDocument/2006/relationships/hyperlink" Target="https://developer.mozilla.org/en-US/docs/Web/JavaScript/Guide/Keyed_collections" TargetMode="External"/><Relationship Id="rId23" Type="http://schemas.openxmlformats.org/officeDocument/2006/relationships/hyperlink" Target="https://reactjs.org/docs/rendering-elements.html" TargetMode="External"/><Relationship Id="rId28" Type="http://schemas.openxmlformats.org/officeDocument/2006/relationships/hyperlink" Target="https://redux.js.org/introduction/getting-started" TargetMode="External"/><Relationship Id="rId10" Type="http://schemas.openxmlformats.org/officeDocument/2006/relationships/hyperlink" Target="https://developer.mozilla.org/en-US/docs/Web/JavaScript/Guide/Grammar_and_types" TargetMode="External"/><Relationship Id="rId19" Type="http://schemas.openxmlformats.org/officeDocument/2006/relationships/hyperlink" Target="https://pythonbasics.org/flask-rest-api/" TargetMode="External"/><Relationship Id="rId31" Type="http://schemas.openxmlformats.org/officeDocument/2006/relationships/hyperlink" Target="https://redux.js.org/introduction/ecosystem" TargetMode="External"/><Relationship Id="rId4" Type="http://schemas.openxmlformats.org/officeDocument/2006/relationships/slideLayout" Target="../slideLayouts/slideLayout231.xml"/><Relationship Id="rId9" Type="http://schemas.openxmlformats.org/officeDocument/2006/relationships/hyperlink" Target="https://www.w3schools.com/python/" TargetMode="External"/><Relationship Id="rId14" Type="http://schemas.openxmlformats.org/officeDocument/2006/relationships/hyperlink" Target="https://developer.mozilla.org/en-US/docs/Web/JavaScript/Guide/Indexed_collections" TargetMode="External"/><Relationship Id="rId22" Type="http://schemas.openxmlformats.org/officeDocument/2006/relationships/hyperlink" Target="https://reactjs.org/docs/state-and-lifecycle.html" TargetMode="External"/><Relationship Id="rId27" Type="http://schemas.openxmlformats.org/officeDocument/2006/relationships/image" Target="../media/image18.png"/><Relationship Id="rId30" Type="http://schemas.openxmlformats.org/officeDocument/2006/relationships/hyperlink" Target="https://redux.js.org/introduction/learning-resources"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0.xml"/><Relationship Id="rId7" Type="http://schemas.openxmlformats.org/officeDocument/2006/relationships/image" Target="../media/image20.emf"/><Relationship Id="rId2" Type="http://schemas.openxmlformats.org/officeDocument/2006/relationships/tags" Target="../tags/tag159.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notesSlide" Target="../notesSlides/notesSlide4.xml"/><Relationship Id="rId4" Type="http://schemas.openxmlformats.org/officeDocument/2006/relationships/slideLayout" Target="../slideLayouts/slideLayout279.xml"/></Relationships>
</file>

<file path=ppt/slides/_rels/slide5.xml.rels><?xml version="1.0" encoding="UTF-8" standalone="yes"?>
<Relationships xmlns="http://schemas.openxmlformats.org/package/2006/relationships"><Relationship Id="rId8" Type="http://schemas.openxmlformats.org/officeDocument/2006/relationships/hyperlink" Target="https://reactgo.com/send-authorization-header-axios/" TargetMode="External"/><Relationship Id="rId3" Type="http://schemas.openxmlformats.org/officeDocument/2006/relationships/tags" Target="../tags/tag162.xml"/><Relationship Id="rId7" Type="http://schemas.openxmlformats.org/officeDocument/2006/relationships/hyperlink" Target="https://flaviocopes.com/axios-send-authorization-header/" TargetMode="External"/><Relationship Id="rId2" Type="http://schemas.openxmlformats.org/officeDocument/2006/relationships/tags" Target="../tags/tag161.xml"/><Relationship Id="rId1" Type="http://schemas.openxmlformats.org/officeDocument/2006/relationships/vmlDrawing" Target="../drawings/vmlDrawing95.vml"/><Relationship Id="rId6" Type="http://schemas.openxmlformats.org/officeDocument/2006/relationships/image" Target="../media/image9.emf"/><Relationship Id="rId5" Type="http://schemas.openxmlformats.org/officeDocument/2006/relationships/oleObject" Target="../embeddings/oleObject96.bin"/><Relationship Id="rId4" Type="http://schemas.openxmlformats.org/officeDocument/2006/relationships/slideLayout" Target="../slideLayouts/slideLayout298.xml"/></Relationships>
</file>

<file path=ppt/slides/_rels/slide6.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22.png"/><Relationship Id="rId2" Type="http://schemas.openxmlformats.org/officeDocument/2006/relationships/tags" Target="../tags/tag163.xml"/><Relationship Id="rId1" Type="http://schemas.openxmlformats.org/officeDocument/2006/relationships/vmlDrawing" Target="../drawings/vmlDrawing96.vml"/><Relationship Id="rId6" Type="http://schemas.openxmlformats.org/officeDocument/2006/relationships/image" Target="../media/image9.emf"/><Relationship Id="rId5" Type="http://schemas.openxmlformats.org/officeDocument/2006/relationships/oleObject" Target="../embeddings/oleObject97.bin"/><Relationship Id="rId4"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65.xml"/><Relationship Id="rId1" Type="http://schemas.openxmlformats.org/officeDocument/2006/relationships/vmlDrawing" Target="../drawings/vmlDrawing97.v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9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66.xml"/><Relationship Id="rId1" Type="http://schemas.openxmlformats.org/officeDocument/2006/relationships/vmlDrawing" Target="../drawings/vmlDrawing98.vml"/><Relationship Id="rId6" Type="http://schemas.openxmlformats.org/officeDocument/2006/relationships/image" Target="../media/image25.png"/><Relationship Id="rId5" Type="http://schemas.openxmlformats.org/officeDocument/2006/relationships/image" Target="../media/image23.emf"/><Relationship Id="rId4" Type="http://schemas.openxmlformats.org/officeDocument/2006/relationships/oleObject" Target="../embeddings/oleObject9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67.xml"/><Relationship Id="rId1" Type="http://schemas.openxmlformats.org/officeDocument/2006/relationships/vmlDrawing" Target="../drawings/vmlDrawing99.v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10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02647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Subtitle 2"/>
          <p:cNvSpPr>
            <a:spLocks noGrp="1"/>
          </p:cNvSpPr>
          <p:nvPr>
            <p:ph type="subTitle" idx="1"/>
          </p:nvPr>
        </p:nvSpPr>
        <p:spPr>
          <a:xfrm>
            <a:off x="1117415" y="5272710"/>
            <a:ext cx="6868800" cy="659192"/>
          </a:xfrm>
        </p:spPr>
        <p:txBody>
          <a:bodyPr/>
          <a:lstStyle/>
          <a:p>
            <a:r>
              <a:rPr lang="en-US" dirty="0"/>
              <a:t>Caselet </a:t>
            </a:r>
            <a:r>
              <a:rPr lang="en-US" dirty="0">
                <a:latin typeface="Trebuchet MS" panose="020B0703020202090204" pitchFamily="34" charset="0"/>
              </a:rPr>
              <a:t>for React JS Advance Concepts</a:t>
            </a:r>
            <a:br>
              <a:rPr lang="en-US" dirty="0">
                <a:latin typeface="Trebuchet MS" panose="020B0703020202090204" pitchFamily="34" charset="0"/>
              </a:rPr>
            </a:br>
            <a:r>
              <a:rPr lang="en-US" dirty="0">
                <a:latin typeface="Trebuchet MS" panose="020B0703020202090204" pitchFamily="34" charset="0"/>
              </a:rPr>
              <a:t>(React JS + Redux + API Integration)</a:t>
            </a:r>
          </a:p>
        </p:txBody>
      </p:sp>
      <p:sp>
        <p:nvSpPr>
          <p:cNvPr id="2" name="Title 1"/>
          <p:cNvSpPr>
            <a:spLocks noGrp="1"/>
          </p:cNvSpPr>
          <p:nvPr>
            <p:ph type="ctrTitle"/>
          </p:nvPr>
        </p:nvSpPr>
        <p:spPr/>
        <p:txBody>
          <a:bodyPr vert="horz"/>
          <a:lstStyle/>
          <a:p>
            <a:r>
              <a:rPr lang="en-US" dirty="0"/>
              <a:t>Retail Promotion Management System</a:t>
            </a:r>
          </a:p>
        </p:txBody>
      </p:sp>
      <p:sp>
        <p:nvSpPr>
          <p:cNvPr id="9" name="Text Placeholder 12">
            <a:extLst>
              <a:ext uri="{FF2B5EF4-FFF2-40B4-BE49-F238E27FC236}">
                <a16:creationId xmlns:a16="http://schemas.microsoft.com/office/drawing/2014/main" id="{5F63046D-CDC7-084E-A706-FCB7B94AADD3}"/>
              </a:ext>
            </a:extLst>
          </p:cNvPr>
          <p:cNvSpPr>
            <a:spLocks noGrp="1"/>
          </p:cNvSpPr>
          <p:nvPr>
            <p:ph type="body" sz="quarter" idx="12"/>
          </p:nvPr>
        </p:nvSpPr>
        <p:spPr>
          <a:xfrm>
            <a:off x="1117415" y="6101397"/>
            <a:ext cx="6868800" cy="603089"/>
          </a:xfrm>
        </p:spPr>
        <p:txBody>
          <a:bodyPr/>
          <a:lstStyle/>
          <a:p>
            <a:r>
              <a:rPr lang="en-US" dirty="0" err="1"/>
              <a:t>SepTember</a:t>
            </a:r>
            <a:r>
              <a:rPr lang="en-US" dirty="0"/>
              <a:t> 2021</a:t>
            </a:r>
          </a:p>
          <a:p>
            <a:r>
              <a:rPr lang="en-US" dirty="0"/>
              <a:t>Estimated Efforts: </a:t>
            </a:r>
            <a:r>
              <a:rPr lang="en-US"/>
              <a:t>80 hours</a:t>
            </a:r>
            <a:endParaRPr lang="en-US" dirty="0"/>
          </a:p>
        </p:txBody>
      </p:sp>
    </p:spTree>
    <p:extLst>
      <p:ext uri="{BB962C8B-B14F-4D97-AF65-F5344CB8AC3E}">
        <p14:creationId xmlns:p14="http://schemas.microsoft.com/office/powerpoint/2010/main" val="193554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3F1A52-4FBB-46BB-ABE6-B674DFA3B962}"/>
              </a:ext>
            </a:extLst>
          </p:cNvPr>
          <p:cNvGraphicFramePr>
            <a:graphicFrameLocks noChangeAspect="1"/>
          </p:cNvGraphicFramePr>
          <p:nvPr>
            <p:custDataLst>
              <p:tags r:id="rId2"/>
            </p:custDataLst>
            <p:extLst>
              <p:ext uri="{D42A27DB-BD31-4B8C-83A1-F6EECF244321}">
                <p14:modId xmlns:p14="http://schemas.microsoft.com/office/powerpoint/2010/main" val="190849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5" name="think-cell Slide" r:id="rId4" imgW="532" imgH="533" progId="TCLayout.ActiveDocument.1">
                  <p:embed/>
                </p:oleObj>
              </mc:Choice>
              <mc:Fallback>
                <p:oleObj name="think-cell Slid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17EE60-DCAE-4CAE-908B-00EED8C242E6}"/>
              </a:ext>
            </a:extLst>
          </p:cNvPr>
          <p:cNvSpPr>
            <a:spLocks noGrp="1"/>
          </p:cNvSpPr>
          <p:nvPr>
            <p:ph type="title"/>
          </p:nvPr>
        </p:nvSpPr>
        <p:spPr>
          <a:xfrm>
            <a:off x="725648" y="622800"/>
            <a:ext cx="10837702" cy="443198"/>
          </a:xfrm>
        </p:spPr>
        <p:txBody>
          <a:bodyPr vert="horz"/>
          <a:lstStyle/>
          <a:p>
            <a:r>
              <a:rPr lang="en-US" sz="3200" dirty="0"/>
              <a:t>Exercise (1e)</a:t>
            </a:r>
          </a:p>
        </p:txBody>
      </p:sp>
      <p:sp>
        <p:nvSpPr>
          <p:cNvPr id="7" name="TextBox 6">
            <a:extLst>
              <a:ext uri="{FF2B5EF4-FFF2-40B4-BE49-F238E27FC236}">
                <a16:creationId xmlns:a16="http://schemas.microsoft.com/office/drawing/2014/main" id="{5DAE2451-2923-49F3-9CA0-383E73C32FAC}"/>
              </a:ext>
            </a:extLst>
          </p:cNvPr>
          <p:cNvSpPr txBox="1"/>
          <p:nvPr/>
        </p:nvSpPr>
        <p:spPr>
          <a:xfrm flipV="1">
            <a:off x="630001" y="1505777"/>
            <a:ext cx="10342800" cy="45819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pic>
        <p:nvPicPr>
          <p:cNvPr id="8" name="Picture 7">
            <a:extLst>
              <a:ext uri="{FF2B5EF4-FFF2-40B4-BE49-F238E27FC236}">
                <a16:creationId xmlns:a16="http://schemas.microsoft.com/office/drawing/2014/main" id="{5BFA04EC-8769-4735-B94C-85A302474888}"/>
              </a:ext>
            </a:extLst>
          </p:cNvPr>
          <p:cNvPicPr>
            <a:picLocks noChangeAspect="1"/>
          </p:cNvPicPr>
          <p:nvPr/>
        </p:nvPicPr>
        <p:blipFill>
          <a:blip r:embed="rId6"/>
          <a:stretch>
            <a:fillRect/>
          </a:stretch>
        </p:blipFill>
        <p:spPr>
          <a:xfrm>
            <a:off x="2277294" y="2812278"/>
            <a:ext cx="7382627" cy="3596692"/>
          </a:xfrm>
          <a:prstGeom prst="rect">
            <a:avLst/>
          </a:prstGeom>
        </p:spPr>
      </p:pic>
      <p:sp>
        <p:nvSpPr>
          <p:cNvPr id="10" name="TextBox 9">
            <a:extLst>
              <a:ext uri="{FF2B5EF4-FFF2-40B4-BE49-F238E27FC236}">
                <a16:creationId xmlns:a16="http://schemas.microsoft.com/office/drawing/2014/main" id="{3651022B-3484-445E-B674-208C6442828D}"/>
              </a:ext>
            </a:extLst>
          </p:cNvPr>
          <p:cNvSpPr txBox="1"/>
          <p:nvPr/>
        </p:nvSpPr>
        <p:spPr>
          <a:xfrm flipV="1">
            <a:off x="4328491" y="1292087"/>
            <a:ext cx="6867939" cy="1490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sp>
        <p:nvSpPr>
          <p:cNvPr id="11" name="TextBox 10">
            <a:extLst>
              <a:ext uri="{FF2B5EF4-FFF2-40B4-BE49-F238E27FC236}">
                <a16:creationId xmlns:a16="http://schemas.microsoft.com/office/drawing/2014/main" id="{1F612B4E-9F40-4C31-B95F-AAD159C5384B}"/>
              </a:ext>
            </a:extLst>
          </p:cNvPr>
          <p:cNvSpPr txBox="1"/>
          <p:nvPr/>
        </p:nvSpPr>
        <p:spPr>
          <a:xfrm>
            <a:off x="898035" y="1299047"/>
            <a:ext cx="9806731" cy="14809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ea typeface="+mj-ea"/>
                <a:cs typeface="+mj-cs"/>
                <a:sym typeface="Trebuchet MS" panose="020B0603020202020204" pitchFamily="34" charset="0"/>
              </a:rPr>
              <a:t>Detailed Table View</a:t>
            </a:r>
          </a:p>
          <a:p>
            <a:endParaRPr lang="en-US" dirty="0">
              <a:solidFill>
                <a:srgbClr val="575757"/>
              </a:solidFill>
            </a:endParaRPr>
          </a:p>
          <a:p>
            <a:r>
              <a:rPr lang="en-US" sz="1600" dirty="0">
                <a:solidFill>
                  <a:srgbClr val="575757"/>
                </a:solidFill>
              </a:rPr>
              <a:t>Table with all selected promo events.</a:t>
            </a:r>
          </a:p>
          <a:p>
            <a:endParaRPr lang="en-US" sz="1600" dirty="0">
              <a:solidFill>
                <a:srgbClr val="575757"/>
              </a:solidFill>
            </a:endParaRPr>
          </a:p>
          <a:p>
            <a:r>
              <a:rPr lang="en-US" sz="1600" b="1" dirty="0">
                <a:solidFill>
                  <a:srgbClr val="575757"/>
                </a:solidFill>
              </a:rPr>
              <a:t>Here, we will be focusing on filtering the table data, sorting and pagination part</a:t>
            </a:r>
          </a:p>
          <a:p>
            <a:endParaRPr lang="en-US" sz="1600" dirty="0">
              <a:solidFill>
                <a:srgbClr val="575757"/>
              </a:solidFill>
            </a:endParaRPr>
          </a:p>
        </p:txBody>
      </p:sp>
    </p:spTree>
    <p:extLst>
      <p:ext uri="{BB962C8B-B14F-4D97-AF65-F5344CB8AC3E}">
        <p14:creationId xmlns:p14="http://schemas.microsoft.com/office/powerpoint/2010/main" val="1694999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24559" y="680731"/>
            <a:ext cx="10933350" cy="443198"/>
          </a:xfrm>
        </p:spPr>
        <p:txBody>
          <a:bodyPr/>
          <a:lstStyle/>
          <a:p>
            <a:r>
              <a:rPr lang="en-US" sz="3200" dirty="0"/>
              <a:t>Datasets available</a:t>
            </a:r>
          </a:p>
        </p:txBody>
      </p:sp>
      <p:sp>
        <p:nvSpPr>
          <p:cNvPr id="14" name="ee4pContent2"/>
          <p:cNvSpPr txBox="1"/>
          <p:nvPr/>
        </p:nvSpPr>
        <p:spPr>
          <a:xfrm>
            <a:off x="624560" y="1123929"/>
            <a:ext cx="3566160" cy="530665"/>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endParaRPr kumimoji="0" lang="en-US" sz="1400" b="1" i="1"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endParaRPr kumimoji="0" lang="en-US" sz="2000" b="1" i="1"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endParaRPr>
          </a:p>
        </p:txBody>
      </p:sp>
      <p:sp>
        <p:nvSpPr>
          <p:cNvPr id="22" name="TextBox 21">
            <a:hlinkClick r:id="rId7"/>
          </p:cNvPr>
          <p:cNvSpPr txBox="1"/>
          <p:nvPr/>
        </p:nvSpPr>
        <p:spPr>
          <a:xfrm>
            <a:off x="1117082" y="5737254"/>
            <a:ext cx="9948302" cy="440015"/>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solidFill>
                  <a:srgbClr val="29BA74"/>
                </a:solidFill>
                <a:effectLst/>
                <a:uLnTx/>
                <a:uFillTx/>
                <a:latin typeface="Trebuchet MS"/>
                <a:ea typeface="+mn-ea"/>
                <a:cs typeface="+mn-cs"/>
              </a:rPr>
              <a:t>Dummy Data files</a:t>
            </a:r>
            <a:r>
              <a:rPr kumimoji="0" lang="en-US" sz="1100" b="0" u="none" strike="noStrike" kern="1200" cap="none" spc="0" normalizeH="0" baseline="0" noProof="0" dirty="0">
                <a:ln>
                  <a:noFill/>
                </a:ln>
                <a:solidFill>
                  <a:srgbClr val="575757"/>
                </a:solidFill>
                <a:effectLst/>
                <a:uLnTx/>
                <a:uFillTx/>
                <a:latin typeface="Trebuchet MS"/>
                <a:ea typeface="+mn-ea"/>
                <a:cs typeface="+mn-cs"/>
              </a:rPr>
              <a:t> </a:t>
            </a:r>
            <a:r>
              <a:rPr lang="en-US" sz="1100" dirty="0">
                <a:solidFill>
                  <a:srgbClr val="575757"/>
                </a:solidFill>
                <a:latin typeface="Trebuchet MS"/>
              </a:rPr>
              <a:t>are</a:t>
            </a:r>
            <a:r>
              <a:rPr kumimoji="0" lang="en-US" sz="1100" b="0" u="none" strike="noStrike" kern="1200" cap="none" spc="0" normalizeH="0" baseline="0" noProof="0" dirty="0">
                <a:ln>
                  <a:noFill/>
                </a:ln>
                <a:solidFill>
                  <a:srgbClr val="575757"/>
                </a:solidFill>
                <a:effectLst/>
                <a:uLnTx/>
                <a:uFillTx/>
                <a:latin typeface="Trebuchet MS"/>
                <a:ea typeface="+mn-ea"/>
                <a:cs typeface="+mn-cs"/>
              </a:rPr>
              <a:t> present on the </a:t>
            </a:r>
            <a:r>
              <a:rPr kumimoji="0" lang="en-US" sz="1100" b="1" u="none" strike="noStrike" kern="1200" cap="none" spc="0" normalizeH="0" baseline="0" noProof="0" dirty="0">
                <a:ln>
                  <a:noFill/>
                </a:ln>
                <a:solidFill>
                  <a:srgbClr val="29BA74"/>
                </a:solidFill>
                <a:effectLst/>
                <a:uLnTx/>
                <a:uFillTx/>
                <a:latin typeface="Trebuchet MS"/>
                <a:ea typeface="+mn-ea"/>
                <a:cs typeface="+mn-cs"/>
              </a:rPr>
              <a:t>same directory</a:t>
            </a:r>
            <a:r>
              <a:rPr kumimoji="0" lang="en-US" sz="1100" b="0" u="none" strike="noStrike" kern="1200" cap="none" spc="0" normalizeH="0" baseline="0" noProof="0" dirty="0">
                <a:ln>
                  <a:noFill/>
                </a:ln>
                <a:solidFill>
                  <a:srgbClr val="575757"/>
                </a:solidFill>
                <a:effectLst/>
                <a:uLnTx/>
                <a:uFillTx/>
                <a:latin typeface="Trebuchet MS"/>
                <a:ea typeface="+mn-ea"/>
                <a:cs typeface="+mn-cs"/>
              </a:rPr>
              <a:t>. </a:t>
            </a:r>
            <a:r>
              <a:rPr lang="en-US" sz="1100" dirty="0">
                <a:solidFill>
                  <a:srgbClr val="575757"/>
                </a:solidFill>
                <a:latin typeface="Trebuchet MS"/>
              </a:rPr>
              <a:t>You can</a:t>
            </a:r>
            <a:r>
              <a:rPr kumimoji="0" lang="en-US" sz="1100" b="0" u="none" strike="noStrike" kern="1200" cap="none" spc="0" normalizeH="0" baseline="0" noProof="0" dirty="0">
                <a:ln>
                  <a:noFill/>
                </a:ln>
                <a:solidFill>
                  <a:srgbClr val="575757"/>
                </a:solidFill>
                <a:effectLst/>
                <a:uLnTx/>
                <a:uFillTx/>
                <a:latin typeface="Trebuchet MS"/>
                <a:ea typeface="+mn-ea"/>
                <a:cs typeface="+mn-cs"/>
              </a:rPr>
              <a:t> use the same if you are not getting data from the </a:t>
            </a:r>
            <a:r>
              <a:rPr kumimoji="0" lang="en-US" sz="1100" b="1" u="none" strike="noStrike" kern="1200" cap="none" spc="0" normalizeH="0" baseline="0" noProof="0" dirty="0">
                <a:ln>
                  <a:noFill/>
                </a:ln>
                <a:solidFill>
                  <a:schemeClr val="tx2"/>
                </a:solidFill>
                <a:effectLst/>
                <a:uLnTx/>
                <a:uFillTx/>
                <a:latin typeface="Trebuchet MS"/>
                <a:ea typeface="+mn-ea"/>
                <a:cs typeface="+mn-cs"/>
              </a:rPr>
              <a:t>APIs</a:t>
            </a:r>
            <a:r>
              <a:rPr kumimoji="0" lang="en-US" sz="1100" b="0" u="none" strike="noStrike" kern="1200" cap="none" spc="0" normalizeH="0" baseline="0" noProof="0" dirty="0">
                <a:ln>
                  <a:noFill/>
                </a:ln>
                <a:solidFill>
                  <a:srgbClr val="575757"/>
                </a:solidFill>
                <a:effectLst/>
                <a:uLnTx/>
                <a:uFillTx/>
                <a:latin typeface="Trebuchet MS"/>
                <a:ea typeface="+mn-ea"/>
                <a:cs typeface="+mn-cs"/>
              </a:rPr>
              <a:t> while creating different sections of the web application for the caselet or you can create your own dummy json data as per the views.</a:t>
            </a:r>
            <a:endParaRPr kumimoji="0" lang="en-US" sz="1100" b="1" u="sng" strike="noStrike" kern="1200" cap="none" spc="0" normalizeH="0" baseline="0" noProof="0" dirty="0">
              <a:ln>
                <a:noFill/>
              </a:ln>
              <a:solidFill>
                <a:srgbClr val="295E7E"/>
              </a:solidFill>
              <a:effectLst/>
              <a:uLnTx/>
              <a:uFillTx/>
              <a:latin typeface="Trebuchet MS"/>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2395368005"/>
              </p:ext>
            </p:extLst>
          </p:nvPr>
        </p:nvGraphicFramePr>
        <p:xfrm>
          <a:off x="851640" y="1430495"/>
          <a:ext cx="10479185" cy="4000193"/>
        </p:xfrm>
        <a:graphic>
          <a:graphicData uri="http://schemas.openxmlformats.org/drawingml/2006/table">
            <a:tbl>
              <a:tblPr firstRow="1" bandRow="1">
                <a:tableStyleId>{2D5ABB26-0587-4C30-8999-92F81FD0307C}</a:tableStyleId>
              </a:tblPr>
              <a:tblGrid>
                <a:gridCol w="3623255">
                  <a:extLst>
                    <a:ext uri="{9D8B030D-6E8A-4147-A177-3AD203B41FA5}">
                      <a16:colId xmlns:a16="http://schemas.microsoft.com/office/drawing/2014/main" val="20000"/>
                    </a:ext>
                  </a:extLst>
                </a:gridCol>
                <a:gridCol w="6855930">
                  <a:extLst>
                    <a:ext uri="{9D8B030D-6E8A-4147-A177-3AD203B41FA5}">
                      <a16:colId xmlns:a16="http://schemas.microsoft.com/office/drawing/2014/main" val="20001"/>
                    </a:ext>
                  </a:extLst>
                </a:gridCol>
              </a:tblGrid>
              <a:tr h="397615">
                <a:tc>
                  <a:txBody>
                    <a:bodyPr/>
                    <a:lstStyle/>
                    <a:p>
                      <a:pPr algn="ctr"/>
                      <a:r>
                        <a:rPr lang="en-US" sz="1400" b="1" u="none" dirty="0">
                          <a:solidFill>
                            <a:schemeClr val="bg1"/>
                          </a:solidFill>
                        </a:rPr>
                        <a:t> Data file Name / API Path</a:t>
                      </a:r>
                      <a:endParaRPr lang="en-US" sz="1400" b="1" i="0" u="none"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lvl="1" indent="0" algn="ctr" fontAlgn="base">
                        <a:buClr>
                          <a:schemeClr val="tx2">
                            <a:lumMod val="100000"/>
                          </a:schemeClr>
                        </a:buClr>
                        <a:buSzPct val="100000"/>
                        <a:buNone/>
                      </a:pPr>
                      <a:r>
                        <a:rPr lang="en-US" sz="1400" b="1" u="none" dirty="0">
                          <a:solidFill>
                            <a:schemeClr val="bg1"/>
                          </a:solidFill>
                        </a:rPr>
                        <a:t>Data Definition</a:t>
                      </a:r>
                      <a:endParaRPr lang="en-US" sz="1400" b="1" i="0" u="none"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771981">
                <a:tc>
                  <a:txBody>
                    <a:bodyPr/>
                    <a:lstStyle/>
                    <a:p>
                      <a:pPr algn="ctr"/>
                      <a:r>
                        <a:rPr lang="en-US" sz="1050" b="0" kern="1200" dirty="0">
                          <a:solidFill>
                            <a:schemeClr val="tx1"/>
                          </a:solidFill>
                        </a:rPr>
                        <a:t>reference_calenders_dummy_json</a:t>
                      </a:r>
                    </a:p>
                    <a:p>
                      <a:pPr algn="ctr"/>
                      <a:r>
                        <a:rPr lang="en-US" sz="1050" b="0" kern="1200" dirty="0">
                          <a:solidFill>
                            <a:schemeClr val="tx2"/>
                          </a:solidFill>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dirty="0">
                          <a:solidFill>
                            <a:schemeClr val="tx1"/>
                          </a:solidFill>
                          <a:hlinkClick r:id="rId8">
                            <a:extLst>
                              <a:ext uri="{A12FA001-AC4F-418D-AE19-62706E023703}">
                                <ahyp:hlinkClr xmlns:ahyp="http://schemas.microsoft.com/office/drawing/2018/hyperlinkcolor" val="tx"/>
                              </a:ext>
                            </a:extLst>
                          </a:hlinkClick>
                        </a:rPr>
                        <a:t>http://localhost:5000/api/v1/</a:t>
                      </a:r>
                      <a:r>
                        <a:rPr lang="en-IN" sz="1050" b="0" kern="120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reference-calendars</a:t>
                      </a:r>
                      <a:endParaRPr lang="en-IN" sz="1050" b="0"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None/>
                      </a:pPr>
                      <a:r>
                        <a:rPr lang="en-US" sz="1100" dirty="0"/>
                        <a:t>Will contains data for calendar which includes name and status of the calendar and used to populate calendrer dropdown in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82877">
                <a:tc>
                  <a:txBody>
                    <a:bodyPr/>
                    <a:lstStyle/>
                    <a:p>
                      <a:pPr algn="ctr"/>
                      <a:r>
                        <a:rPr lang="en-US" sz="1050" b="0" dirty="0">
                          <a:solidFill>
                            <a:schemeClr val="tx1"/>
                          </a:solidFill>
                        </a:rPr>
                        <a:t>calenders_json</a:t>
                      </a:r>
                    </a:p>
                    <a:p>
                      <a:pPr algn="ctr"/>
                      <a:r>
                        <a:rPr lang="en-US" sz="1050" b="0" dirty="0">
                          <a:solidFill>
                            <a:schemeClr val="tx2"/>
                          </a:solidFill>
                        </a:rPr>
                        <a:t>or</a:t>
                      </a:r>
                    </a:p>
                    <a:p>
                      <a:pPr algn="ctr"/>
                      <a:r>
                        <a:rPr lang="en-US" sz="1050" b="0" dirty="0">
                          <a:solidFill>
                            <a:schemeClr val="tx1"/>
                          </a:solidFill>
                          <a:hlinkClick r:id="rId9">
                            <a:extLst>
                              <a:ext uri="{A12FA001-AC4F-418D-AE19-62706E023703}">
                                <ahyp:hlinkClr xmlns:ahyp="http://schemas.microsoft.com/office/drawing/2018/hyperlinkcolor" val="tx"/>
                              </a:ext>
                            </a:extLst>
                          </a:hlinkClick>
                        </a:rPr>
                        <a:t>http://localhost:5000/api/v1/calendars</a:t>
                      </a:r>
                      <a:endParaRPr lang="en-US" sz="105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Contains all data which is used to populate calendar optimization view i.e. Exercise (1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781966">
                <a:tc>
                  <a:txBody>
                    <a:bodyPr/>
                    <a:lstStyle/>
                    <a:p>
                      <a:pPr algn="ctr"/>
                      <a:r>
                        <a:rPr lang="en-US" sz="1050" b="0" dirty="0">
                          <a:solidFill>
                            <a:schemeClr val="tx1"/>
                          </a:solidFill>
                        </a:rPr>
                        <a:t>products_json</a:t>
                      </a:r>
                    </a:p>
                    <a:p>
                      <a:pPr algn="ctr"/>
                      <a:r>
                        <a:rPr lang="en-US" sz="1050" b="0" dirty="0">
                          <a:solidFill>
                            <a:schemeClr val="tx2"/>
                          </a:solidFill>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dirty="0">
                          <a:solidFill>
                            <a:schemeClr val="tx1"/>
                          </a:solidFill>
                          <a:hlinkClick r:id="rId10">
                            <a:extLst>
                              <a:ext uri="{A12FA001-AC4F-418D-AE19-62706E023703}">
                                <ahyp:hlinkClr xmlns:ahyp="http://schemas.microsoft.com/office/drawing/2018/hyperlinkcolor" val="tx"/>
                              </a:ext>
                            </a:extLst>
                          </a:hlinkClick>
                        </a:rPr>
                        <a:t>http://localhost:5000/api/v1/</a:t>
                      </a:r>
                      <a:r>
                        <a:rPr lang="en-IN" sz="1050" b="0" kern="1200" dirty="0">
                          <a:solidFill>
                            <a:schemeClr val="tx1"/>
                          </a:solidFill>
                          <a:effectLst/>
                          <a:latin typeface="+mn-lt"/>
                          <a:ea typeface="+mn-ea"/>
                          <a:cs typeface="+mn-cs"/>
                          <a:hlinkClick r:id="rId10">
                            <a:extLst>
                              <a:ext uri="{A12FA001-AC4F-418D-AE19-62706E023703}">
                                <ahyp:hlinkClr xmlns:ahyp="http://schemas.microsoft.com/office/drawing/2018/hyperlinkcolor" val="tx"/>
                              </a:ext>
                            </a:extLst>
                          </a:hlinkClick>
                        </a:rPr>
                        <a:t>products</a:t>
                      </a:r>
                      <a:endParaRPr lang="en-US" sz="105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Contains all data which is used to populate dropdowns for Retailer, category, Brand and Products in the post event analysis section i.e.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82877">
                <a:tc>
                  <a:txBody>
                    <a:bodyPr/>
                    <a:lstStyle/>
                    <a:p>
                      <a:pPr algn="ctr"/>
                      <a:r>
                        <a:rPr lang="en-US" sz="1050" b="0" dirty="0">
                          <a:solidFill>
                            <a:schemeClr val="tx1"/>
                          </a:solidFill>
                        </a:rPr>
                        <a:t>campaign_effectiveness_json</a:t>
                      </a:r>
                    </a:p>
                    <a:p>
                      <a:pPr algn="ctr"/>
                      <a:r>
                        <a:rPr lang="en-US" sz="1050" b="0" dirty="0">
                          <a:solidFill>
                            <a:schemeClr val="tx2"/>
                          </a:solidFill>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dirty="0">
                          <a:solidFill>
                            <a:schemeClr val="tx1"/>
                          </a:solidFill>
                          <a:hlinkClick r:id="rId11">
                            <a:extLst>
                              <a:ext uri="{A12FA001-AC4F-418D-AE19-62706E023703}">
                                <ahyp:hlinkClr xmlns:ahyp="http://schemas.microsoft.com/office/drawing/2018/hyperlinkcolor" val="tx"/>
                              </a:ext>
                            </a:extLst>
                          </a:hlinkClick>
                        </a:rPr>
                        <a:t>http://localhost:5000/api/v1/</a:t>
                      </a:r>
                      <a:r>
                        <a:rPr lang="en-IN" sz="1050" b="0" kern="1200" dirty="0">
                          <a:solidFill>
                            <a:schemeClr val="tx1"/>
                          </a:solidFill>
                          <a:effectLst/>
                          <a:latin typeface="+mn-lt"/>
                          <a:ea typeface="+mn-ea"/>
                          <a:cs typeface="+mn-cs"/>
                          <a:hlinkClick r:id="rId11">
                            <a:extLst>
                              <a:ext uri="{A12FA001-AC4F-418D-AE19-62706E023703}">
                                <ahyp:hlinkClr xmlns:ahyp="http://schemas.microsoft.com/office/drawing/2018/hyperlinkcolor" val="tx"/>
                              </a:ext>
                            </a:extLst>
                          </a:hlinkClick>
                        </a:rPr>
                        <a:t>campaign-matrix</a:t>
                      </a:r>
                      <a:endParaRPr lang="en-US" sz="105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Contains all the data used to populate campaign effectiveness matrix in Exercise (1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682877">
                <a:tc>
                  <a:txBody>
                    <a:bodyPr/>
                    <a:lstStyle/>
                    <a:p>
                      <a:pPr algn="ctr"/>
                      <a:r>
                        <a:rPr lang="en-US" sz="1050" b="0" dirty="0">
                          <a:solidFill>
                            <a:schemeClr val="tx1"/>
                          </a:solidFill>
                        </a:rPr>
                        <a:t>detailed_table_data.json</a:t>
                      </a:r>
                    </a:p>
                    <a:p>
                      <a:pPr algn="ctr"/>
                      <a:r>
                        <a:rPr lang="en-US" sz="1050" b="0" dirty="0">
                          <a:solidFill>
                            <a:schemeClr val="tx2"/>
                          </a:solidFill>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dirty="0">
                          <a:solidFill>
                            <a:schemeClr val="tx1"/>
                          </a:solidFill>
                          <a:hlinkClick r:id="rId12">
                            <a:extLst>
                              <a:ext uri="{A12FA001-AC4F-418D-AE19-62706E023703}">
                                <ahyp:hlinkClr xmlns:ahyp="http://schemas.microsoft.com/office/drawing/2018/hyperlinkcolor" val="tx"/>
                              </a:ext>
                            </a:extLst>
                          </a:hlinkClick>
                        </a:rPr>
                        <a:t>http://localhost:5000/api/v1/</a:t>
                      </a:r>
                      <a:r>
                        <a:rPr lang="en-IN" sz="1050" b="0" kern="1200" dirty="0">
                          <a:solidFill>
                            <a:schemeClr val="tx1"/>
                          </a:solidFill>
                          <a:effectLst/>
                          <a:latin typeface="+mn-lt"/>
                          <a:ea typeface="+mn-ea"/>
                          <a:cs typeface="+mn-cs"/>
                          <a:hlinkClick r:id="rId12">
                            <a:extLst>
                              <a:ext uri="{A12FA001-AC4F-418D-AE19-62706E023703}">
                                <ahyp:hlinkClr xmlns:ahyp="http://schemas.microsoft.com/office/drawing/2018/hyperlinkcolor" val="tx"/>
                              </a:ext>
                            </a:extLst>
                          </a:hlinkClick>
                        </a:rPr>
                        <a:t>detailed-table</a:t>
                      </a:r>
                      <a:r>
                        <a:rPr lang="en-US" sz="1050" b="0" dirty="0">
                          <a:solidFill>
                            <a:schemeClr val="tx1"/>
                          </a:solidFill>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t>Contains all the data used to populate detailed table in the post event analysis section i.e. Exercise (1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7" name="TextBox 6">
            <a:extLst>
              <a:ext uri="{FF2B5EF4-FFF2-40B4-BE49-F238E27FC236}">
                <a16:creationId xmlns:a16="http://schemas.microsoft.com/office/drawing/2014/main" id="{DF21C477-84AD-8447-97DC-0D38E77CA39B}"/>
              </a:ext>
            </a:extLst>
          </p:cNvPr>
          <p:cNvSpPr txBox="1"/>
          <p:nvPr/>
        </p:nvSpPr>
        <p:spPr>
          <a:xfrm>
            <a:off x="11377402" y="156176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spTree>
    <p:extLst>
      <p:ext uri="{BB962C8B-B14F-4D97-AF65-F5344CB8AC3E}">
        <p14:creationId xmlns:p14="http://schemas.microsoft.com/office/powerpoint/2010/main" val="3208078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0B5FE5-4C4C-4AA0-B0AC-A4F6223EC6F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6" name="think-cell Slide" r:id="rId4" imgW="532" imgH="533" progId="TCLayout.ActiveDocument.1">
                  <p:embed/>
                </p:oleObj>
              </mc:Choice>
              <mc:Fallback>
                <p:oleObj name="think-cell Slide" r:id="rId4" imgW="532" imgH="533" progId="TCLayout.ActiveDocument.1">
                  <p:embed/>
                  <p:pic>
                    <p:nvPicPr>
                      <p:cNvPr id="3" name="Object 2" hidden="1">
                        <a:extLst>
                          <a:ext uri="{FF2B5EF4-FFF2-40B4-BE49-F238E27FC236}">
                            <a16:creationId xmlns:a16="http://schemas.microsoft.com/office/drawing/2014/main" id="{F70B5FE5-4C4C-4AA0-B0AC-A4F6223EC6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8E796A-F586-4EA3-BD51-9AB35EF31971}"/>
              </a:ext>
            </a:extLst>
          </p:cNvPr>
          <p:cNvSpPr>
            <a:spLocks noGrp="1"/>
          </p:cNvSpPr>
          <p:nvPr>
            <p:ph type="title"/>
          </p:nvPr>
        </p:nvSpPr>
        <p:spPr>
          <a:xfrm>
            <a:off x="699628" y="2672938"/>
            <a:ext cx="2808450" cy="498598"/>
          </a:xfrm>
        </p:spPr>
        <p:txBody>
          <a:bodyPr vert="horz" wrap="square">
            <a:spAutoFit/>
          </a:bodyPr>
          <a:lstStyle/>
          <a:p>
            <a:r>
              <a:rPr lang="en-US" sz="3600" dirty="0"/>
              <a:t>Best </a:t>
            </a:r>
            <a:r>
              <a:rPr lang="en-US" sz="3200" dirty="0"/>
              <a:t>Practices</a:t>
            </a:r>
            <a:endParaRPr lang="en-US" sz="3600" dirty="0"/>
          </a:p>
        </p:txBody>
      </p:sp>
      <p:sp>
        <p:nvSpPr>
          <p:cNvPr id="14" name="TextBox 13">
            <a:extLst>
              <a:ext uri="{FF2B5EF4-FFF2-40B4-BE49-F238E27FC236}">
                <a16:creationId xmlns:a16="http://schemas.microsoft.com/office/drawing/2014/main" id="{3811FCCC-FA58-4F58-828F-90585DC45B8F}"/>
              </a:ext>
            </a:extLst>
          </p:cNvPr>
          <p:cNvSpPr txBox="1"/>
          <p:nvPr/>
        </p:nvSpPr>
        <p:spPr>
          <a:xfrm>
            <a:off x="4308949" y="1217205"/>
            <a:ext cx="7183423" cy="47188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Ø"/>
            </a:pPr>
            <a:endParaRPr lang="en-US" sz="1600" dirty="0">
              <a:solidFill>
                <a:srgbClr val="575757"/>
              </a:solidFill>
            </a:endParaRPr>
          </a:p>
        </p:txBody>
      </p:sp>
      <p:graphicFrame>
        <p:nvGraphicFramePr>
          <p:cNvPr id="13" name="Diagram 12">
            <a:extLst>
              <a:ext uri="{FF2B5EF4-FFF2-40B4-BE49-F238E27FC236}">
                <a16:creationId xmlns:a16="http://schemas.microsoft.com/office/drawing/2014/main" id="{8C44470F-393F-484A-BB15-F9E1580EF5C3}"/>
              </a:ext>
            </a:extLst>
          </p:cNvPr>
          <p:cNvGraphicFramePr/>
          <p:nvPr/>
        </p:nvGraphicFramePr>
        <p:xfrm>
          <a:off x="3978710" y="619891"/>
          <a:ext cx="7678785" cy="593551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Graphic 5" descr="Target">
            <a:extLst>
              <a:ext uri="{FF2B5EF4-FFF2-40B4-BE49-F238E27FC236}">
                <a16:creationId xmlns:a16="http://schemas.microsoft.com/office/drawing/2014/main" id="{E19F4FF1-9FFC-4038-80A9-C0A0DA00E5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56550" y="921988"/>
            <a:ext cx="486792" cy="486792"/>
          </a:xfrm>
          <a:prstGeom prst="rect">
            <a:avLst/>
          </a:prstGeom>
        </p:spPr>
      </p:pic>
      <p:pic>
        <p:nvPicPr>
          <p:cNvPr id="7" name="Graphic 6" descr="Target">
            <a:extLst>
              <a:ext uri="{FF2B5EF4-FFF2-40B4-BE49-F238E27FC236}">
                <a16:creationId xmlns:a16="http://schemas.microsoft.com/office/drawing/2014/main" id="{F2258E9E-9A8B-4317-8E83-29241485CF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55065" y="1729454"/>
            <a:ext cx="486792" cy="486792"/>
          </a:xfrm>
          <a:prstGeom prst="rect">
            <a:avLst/>
          </a:prstGeom>
        </p:spPr>
      </p:pic>
      <p:pic>
        <p:nvPicPr>
          <p:cNvPr id="8" name="Graphic 7" descr="Target">
            <a:extLst>
              <a:ext uri="{FF2B5EF4-FFF2-40B4-BE49-F238E27FC236}">
                <a16:creationId xmlns:a16="http://schemas.microsoft.com/office/drawing/2014/main" id="{6A19947E-68DD-4296-837D-90F278E45A8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21907" y="2534909"/>
            <a:ext cx="486792" cy="486792"/>
          </a:xfrm>
          <a:prstGeom prst="rect">
            <a:avLst/>
          </a:prstGeom>
        </p:spPr>
      </p:pic>
      <p:pic>
        <p:nvPicPr>
          <p:cNvPr id="9" name="Graphic 8" descr="Target">
            <a:extLst>
              <a:ext uri="{FF2B5EF4-FFF2-40B4-BE49-F238E27FC236}">
                <a16:creationId xmlns:a16="http://schemas.microsoft.com/office/drawing/2014/main" id="{C693360C-0D40-46B0-BE9B-14DE58F0D92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03969" y="3344935"/>
            <a:ext cx="486792" cy="486792"/>
          </a:xfrm>
          <a:prstGeom prst="rect">
            <a:avLst/>
          </a:prstGeom>
        </p:spPr>
      </p:pic>
      <p:pic>
        <p:nvPicPr>
          <p:cNvPr id="10" name="Graphic 9" descr="Target">
            <a:extLst>
              <a:ext uri="{FF2B5EF4-FFF2-40B4-BE49-F238E27FC236}">
                <a16:creationId xmlns:a16="http://schemas.microsoft.com/office/drawing/2014/main" id="{C76398A2-A7CF-4874-8732-AA912796CE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21907" y="4176897"/>
            <a:ext cx="486792" cy="486792"/>
          </a:xfrm>
          <a:prstGeom prst="rect">
            <a:avLst/>
          </a:prstGeom>
        </p:spPr>
      </p:pic>
      <p:pic>
        <p:nvPicPr>
          <p:cNvPr id="11" name="Graphic 10" descr="Target">
            <a:extLst>
              <a:ext uri="{FF2B5EF4-FFF2-40B4-BE49-F238E27FC236}">
                <a16:creationId xmlns:a16="http://schemas.microsoft.com/office/drawing/2014/main" id="{CAB63624-F97D-48BF-B2BA-A5590CD929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43342" y="4986923"/>
            <a:ext cx="486792" cy="486792"/>
          </a:xfrm>
          <a:prstGeom prst="rect">
            <a:avLst/>
          </a:prstGeom>
        </p:spPr>
      </p:pic>
      <p:pic>
        <p:nvPicPr>
          <p:cNvPr id="12" name="Graphic 11" descr="Target">
            <a:extLst>
              <a:ext uri="{FF2B5EF4-FFF2-40B4-BE49-F238E27FC236}">
                <a16:creationId xmlns:a16="http://schemas.microsoft.com/office/drawing/2014/main" id="{DDFC2207-3661-4085-8356-2882D75BEF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62698" y="5796949"/>
            <a:ext cx="486792" cy="486792"/>
          </a:xfrm>
          <a:prstGeom prst="rect">
            <a:avLst/>
          </a:prstGeom>
        </p:spPr>
      </p:pic>
      <p:pic>
        <p:nvPicPr>
          <p:cNvPr id="5" name="Graphic 4" descr="Postit Notes with solid fill">
            <a:extLst>
              <a:ext uri="{FF2B5EF4-FFF2-40B4-BE49-F238E27FC236}">
                <a16:creationId xmlns:a16="http://schemas.microsoft.com/office/drawing/2014/main" id="{F19B22A6-75AA-4D6C-8C0E-64427A9CA73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95995" y="3200626"/>
            <a:ext cx="976271" cy="976271"/>
          </a:xfrm>
          <a:prstGeom prst="rect">
            <a:avLst/>
          </a:prstGeom>
        </p:spPr>
      </p:pic>
    </p:spTree>
    <p:extLst>
      <p:ext uri="{BB962C8B-B14F-4D97-AF65-F5344CB8AC3E}">
        <p14:creationId xmlns:p14="http://schemas.microsoft.com/office/powerpoint/2010/main" val="491658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F7016E-0476-4424-A693-F2D2A12A08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7"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DDF7016E-0476-4424-A693-F2D2A12A08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63A7F0-AA9B-41D6-BD9A-80F0070D577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571D4E4-377C-4849-87B7-EC0B761BBB9F}"/>
              </a:ext>
            </a:extLst>
          </p:cNvPr>
          <p:cNvSpPr>
            <a:spLocks noGrp="1"/>
          </p:cNvSpPr>
          <p:nvPr>
            <p:ph type="title"/>
          </p:nvPr>
        </p:nvSpPr>
        <p:spPr>
          <a:xfrm>
            <a:off x="230819" y="2808242"/>
            <a:ext cx="3500429" cy="443198"/>
          </a:xfrm>
        </p:spPr>
        <p:txBody>
          <a:bodyPr>
            <a:spAutoFit/>
          </a:bodyPr>
          <a:lstStyle/>
          <a:p>
            <a:pPr algn="ctr"/>
            <a:r>
              <a:rPr lang="en-US" sz="3200" dirty="0"/>
              <a:t>Contacts</a:t>
            </a:r>
          </a:p>
        </p:txBody>
      </p:sp>
      <p:pic>
        <p:nvPicPr>
          <p:cNvPr id="21" name="Graphic 20" descr="Magnifying glass">
            <a:extLst>
              <a:ext uri="{FF2B5EF4-FFF2-40B4-BE49-F238E27FC236}">
                <a16:creationId xmlns:a16="http://schemas.microsoft.com/office/drawing/2014/main" id="{650254D9-AD6E-4611-8EE3-F43069A11D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3833" y="3337532"/>
            <a:ext cx="914400" cy="914400"/>
          </a:xfrm>
          <a:prstGeom prst="rect">
            <a:avLst/>
          </a:prstGeom>
        </p:spPr>
      </p:pic>
      <p:sp>
        <p:nvSpPr>
          <p:cNvPr id="10" name="Rectangle 9">
            <a:extLst>
              <a:ext uri="{FF2B5EF4-FFF2-40B4-BE49-F238E27FC236}">
                <a16:creationId xmlns:a16="http://schemas.microsoft.com/office/drawing/2014/main" id="{29DEBAF9-EE44-4B44-8162-D0BFD7BB8308}"/>
              </a:ext>
            </a:extLst>
          </p:cNvPr>
          <p:cNvSpPr/>
          <p:nvPr/>
        </p:nvSpPr>
        <p:spPr>
          <a:xfrm>
            <a:off x="4608985" y="896642"/>
            <a:ext cx="6461469" cy="2652944"/>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TextBox 10">
            <a:extLst>
              <a:ext uri="{FF2B5EF4-FFF2-40B4-BE49-F238E27FC236}">
                <a16:creationId xmlns:a16="http://schemas.microsoft.com/office/drawing/2014/main" id="{882581AF-5A7D-A948-8EC0-5B19AC76D0A1}"/>
              </a:ext>
            </a:extLst>
          </p:cNvPr>
          <p:cNvSpPr txBox="1"/>
          <p:nvPr/>
        </p:nvSpPr>
        <p:spPr>
          <a:xfrm>
            <a:off x="5005373" y="1148422"/>
            <a:ext cx="5343593" cy="2103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Topic Experts</a:t>
            </a:r>
          </a:p>
          <a:p>
            <a:pPr algn="ctr"/>
            <a:endParaRPr lang="en-US" sz="3600" dirty="0">
              <a:solidFill>
                <a:srgbClr val="29BA74"/>
              </a:solidFill>
            </a:endParaRPr>
          </a:p>
          <a:p>
            <a:r>
              <a:rPr lang="en-US" sz="2000" dirty="0">
                <a:solidFill>
                  <a:schemeClr val="tx1"/>
                </a:solidFill>
              </a:rPr>
              <a:t>Mearaj Ali (</a:t>
            </a:r>
            <a:r>
              <a:rPr lang="en-US" sz="2000" dirty="0">
                <a:solidFill>
                  <a:schemeClr val="tx1"/>
                </a:solidFill>
                <a:hlinkClick r:id="rId9"/>
              </a:rPr>
              <a:t>Ali.Mearaj@bcg.com</a:t>
            </a:r>
            <a:r>
              <a:rPr lang="en-US" sz="2000" dirty="0">
                <a:solidFill>
                  <a:schemeClr val="tx1"/>
                </a:solidFill>
              </a:rPr>
              <a:t>)</a:t>
            </a:r>
          </a:p>
          <a:p>
            <a:endParaRPr lang="en-US" sz="2000" dirty="0">
              <a:solidFill>
                <a:schemeClr val="tx1"/>
              </a:solidFill>
            </a:endParaRPr>
          </a:p>
          <a:p>
            <a:r>
              <a:rPr lang="en-US" sz="2000" dirty="0">
                <a:solidFill>
                  <a:schemeClr val="tx1"/>
                </a:solidFill>
              </a:rPr>
              <a:t>Rakesh Gauniyal (</a:t>
            </a:r>
            <a:r>
              <a:rPr lang="en-US" sz="2000" dirty="0">
                <a:solidFill>
                  <a:schemeClr val="tx1"/>
                </a:solidFill>
                <a:hlinkClick r:id="rId10"/>
              </a:rPr>
              <a:t>Gauniyal.Rakesh@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sp>
        <p:nvSpPr>
          <p:cNvPr id="13" name="Rectangle 12">
            <a:extLst>
              <a:ext uri="{FF2B5EF4-FFF2-40B4-BE49-F238E27FC236}">
                <a16:creationId xmlns:a16="http://schemas.microsoft.com/office/drawing/2014/main" id="{2363183A-D852-D74A-AD16-369739368DEB}"/>
              </a:ext>
            </a:extLst>
          </p:cNvPr>
          <p:cNvSpPr/>
          <p:nvPr/>
        </p:nvSpPr>
        <p:spPr>
          <a:xfrm>
            <a:off x="4608985" y="3894339"/>
            <a:ext cx="6461469" cy="2103737"/>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TextBox 13">
            <a:extLst>
              <a:ext uri="{FF2B5EF4-FFF2-40B4-BE49-F238E27FC236}">
                <a16:creationId xmlns:a16="http://schemas.microsoft.com/office/drawing/2014/main" id="{2973FF6C-3384-5546-8BA1-136CF69714E4}"/>
              </a:ext>
            </a:extLst>
          </p:cNvPr>
          <p:cNvSpPr txBox="1"/>
          <p:nvPr/>
        </p:nvSpPr>
        <p:spPr>
          <a:xfrm>
            <a:off x="5005373" y="4316031"/>
            <a:ext cx="5343593" cy="1393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Author of Caselet</a:t>
            </a:r>
          </a:p>
          <a:p>
            <a:endParaRPr lang="en-US" sz="2000" dirty="0">
              <a:solidFill>
                <a:schemeClr val="tx1"/>
              </a:solidFill>
            </a:endParaRPr>
          </a:p>
          <a:p>
            <a:r>
              <a:rPr lang="en-US" sz="2000" dirty="0">
                <a:solidFill>
                  <a:schemeClr val="tx1"/>
                </a:solidFill>
              </a:rPr>
              <a:t>Rakesh Gauniyal (</a:t>
            </a:r>
            <a:r>
              <a:rPr lang="en-US" sz="2000" dirty="0">
                <a:solidFill>
                  <a:schemeClr val="tx1"/>
                </a:solidFill>
                <a:hlinkClick r:id="rId10"/>
              </a:rPr>
              <a:t>Gauniyal.Rakesh@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spTree>
    <p:extLst>
      <p:ext uri="{BB962C8B-B14F-4D97-AF65-F5344CB8AC3E}">
        <p14:creationId xmlns:p14="http://schemas.microsoft.com/office/powerpoint/2010/main" val="1241012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Box 178"/>
          <p:cNvSpPr txBox="1"/>
          <p:nvPr/>
        </p:nvSpPr>
        <p:spPr>
          <a:xfrm>
            <a:off x="4389925" y="2563328"/>
            <a:ext cx="3412150" cy="1426544"/>
          </a:xfrm>
          <a:prstGeom prst="rect">
            <a:avLst/>
          </a:prstGeom>
          <a:noFill/>
        </p:spPr>
        <p:txBody>
          <a:bodyPr wrap="square" rtlCol="0" anchor="ctr">
            <a:spAutoFit/>
          </a:bodyPr>
          <a:lstStyle/>
          <a:p>
            <a:pPr algn="ctr">
              <a:lnSpc>
                <a:spcPct val="85000"/>
              </a:lnSpc>
              <a:spcAft>
                <a:spcPts val="1600"/>
              </a:spcAft>
            </a:pPr>
            <a:r>
              <a:rPr lang="en-US" sz="3400" dirty="0">
                <a:solidFill>
                  <a:srgbClr val="29BA74"/>
                </a:solidFill>
              </a:rPr>
              <a:t>Typical </a:t>
            </a:r>
            <a:br>
              <a:rPr lang="en-US" sz="3400" dirty="0">
                <a:solidFill>
                  <a:srgbClr val="29BA74"/>
                </a:solidFill>
              </a:rPr>
            </a:br>
            <a:r>
              <a:rPr lang="en-US" sz="3400" dirty="0">
                <a:solidFill>
                  <a:srgbClr val="29BA74"/>
                </a:solidFill>
              </a:rPr>
              <a:t>savings across transformations</a:t>
            </a:r>
            <a:endParaRPr lang="en-US" sz="1600" b="1" dirty="0">
              <a:solidFill>
                <a:srgbClr val="29BA74"/>
              </a:solidFill>
            </a:endParaRPr>
          </a:p>
        </p:txBody>
      </p:sp>
      <p:sp>
        <p:nvSpPr>
          <p:cNvPr id="181" name="TextBox 180"/>
          <p:cNvSpPr txBox="1"/>
          <p:nvPr/>
        </p:nvSpPr>
        <p:spPr>
          <a:xfrm>
            <a:off x="6910535" y="708153"/>
            <a:ext cx="2760048" cy="54476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Naming convention: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CaseletName_Last_FirstName</a:t>
            </a:r>
          </a:p>
        </p:txBody>
      </p:sp>
      <p:sp>
        <p:nvSpPr>
          <p:cNvPr id="230" name="TextBox 229"/>
          <p:cNvSpPr txBox="1"/>
          <p:nvPr/>
        </p:nvSpPr>
        <p:spPr>
          <a:xfrm>
            <a:off x="8747528" y="2016943"/>
            <a:ext cx="2286000" cy="77867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Outputs: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Do version control and share only final version</a:t>
            </a:r>
          </a:p>
        </p:txBody>
      </p:sp>
      <p:grpSp>
        <p:nvGrpSpPr>
          <p:cNvPr id="2" name="Group 1"/>
          <p:cNvGrpSpPr/>
          <p:nvPr/>
        </p:nvGrpSpPr>
        <p:grpSpPr>
          <a:xfrm>
            <a:off x="3643017" y="688753"/>
            <a:ext cx="4905968" cy="5480494"/>
            <a:chOff x="3643017" y="688753"/>
            <a:chExt cx="4905968" cy="5480494"/>
          </a:xfrm>
        </p:grpSpPr>
        <p:sp>
          <p:nvSpPr>
            <p:cNvPr id="160" name="Oval 159"/>
            <p:cNvSpPr>
              <a:spLocks noChangeAspect="1"/>
            </p:cNvSpPr>
            <p:nvPr/>
          </p:nvSpPr>
          <p:spPr>
            <a:xfrm>
              <a:off x="3764280" y="1097280"/>
              <a:ext cx="4663440" cy="46634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161" name="Oval 160"/>
            <p:cNvSpPr>
              <a:spLocks noChangeAspect="1"/>
            </p:cNvSpPr>
            <p:nvPr/>
          </p:nvSpPr>
          <p:spPr>
            <a:xfrm>
              <a:off x="3901440" y="1234440"/>
              <a:ext cx="4389119" cy="4389120"/>
            </a:xfrm>
            <a:prstGeom prst="ellipse">
              <a:avLst/>
            </a:prstGeom>
            <a:grp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173" name="Oval 172"/>
            <p:cNvSpPr>
              <a:spLocks noChangeAspect="1"/>
            </p:cNvSpPr>
            <p:nvPr/>
          </p:nvSpPr>
          <p:spPr>
            <a:xfrm>
              <a:off x="5501409" y="68875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4" name="Oval 233"/>
            <p:cNvSpPr>
              <a:spLocks noChangeAspect="1"/>
            </p:cNvSpPr>
            <p:nvPr/>
          </p:nvSpPr>
          <p:spPr>
            <a:xfrm>
              <a:off x="5501409" y="498052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8" name="Oval 237"/>
            <p:cNvSpPr>
              <a:spLocks noChangeAspect="1"/>
            </p:cNvSpPr>
            <p:nvPr/>
          </p:nvSpPr>
          <p:spPr>
            <a:xfrm>
              <a:off x="7359801" y="1761696"/>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0" name="Oval 239"/>
            <p:cNvSpPr>
              <a:spLocks noChangeAspect="1"/>
            </p:cNvSpPr>
            <p:nvPr/>
          </p:nvSpPr>
          <p:spPr>
            <a:xfrm>
              <a:off x="3643017" y="3907584"/>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2" name="Oval 241"/>
            <p:cNvSpPr>
              <a:spLocks noChangeAspect="1"/>
            </p:cNvSpPr>
            <p:nvPr/>
          </p:nvSpPr>
          <p:spPr>
            <a:xfrm>
              <a:off x="3643017" y="176169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4" name="Oval 243"/>
            <p:cNvSpPr>
              <a:spLocks noChangeAspect="1"/>
            </p:cNvSpPr>
            <p:nvPr/>
          </p:nvSpPr>
          <p:spPr>
            <a:xfrm>
              <a:off x="7359803" y="390758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grpSp>
      <p:sp>
        <p:nvSpPr>
          <p:cNvPr id="3" name="TextBox 2"/>
          <p:cNvSpPr txBox="1"/>
          <p:nvPr/>
        </p:nvSpPr>
        <p:spPr>
          <a:xfrm>
            <a:off x="4992352" y="2892568"/>
            <a:ext cx="2218421" cy="978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rgbClr val="29BA74"/>
                </a:solidFill>
              </a:rPr>
              <a:t>Best Practices</a:t>
            </a:r>
          </a:p>
        </p:txBody>
      </p:sp>
      <p:graphicFrame>
        <p:nvGraphicFramePr>
          <p:cNvPr id="82" name="Object 8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3" name="Rectangle 8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84" name="Group 83"/>
          <p:cNvGrpSpPr>
            <a:grpSpLocks noChangeAspect="1"/>
          </p:cNvGrpSpPr>
          <p:nvPr/>
        </p:nvGrpSpPr>
        <p:grpSpPr>
          <a:xfrm>
            <a:off x="5604841" y="786966"/>
            <a:ext cx="993584" cy="993584"/>
            <a:chOff x="5273675" y="2576513"/>
            <a:chExt cx="1644650" cy="1644650"/>
          </a:xfrm>
        </p:grpSpPr>
        <p:sp>
          <p:nvSpPr>
            <p:cNvPr id="85" name="AutoShape 35"/>
            <p:cNvSpPr>
              <a:spLocks noChangeAspect="1" noChangeArrowheads="1" noTextEdit="1"/>
            </p:cNvSpPr>
            <p:nvPr/>
          </p:nvSpPr>
          <p:spPr bwMode="auto">
            <a:xfrm>
              <a:off x="5273675" y="257651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6" name="Group 85"/>
            <p:cNvGrpSpPr/>
            <p:nvPr/>
          </p:nvGrpSpPr>
          <p:grpSpPr>
            <a:xfrm>
              <a:off x="5445125" y="3021013"/>
              <a:ext cx="1303338" cy="757238"/>
              <a:chOff x="5445125" y="3021013"/>
              <a:chExt cx="1303338" cy="757238"/>
            </a:xfrm>
          </p:grpSpPr>
          <p:sp>
            <p:nvSpPr>
              <p:cNvPr id="87" name="Freeform 86"/>
              <p:cNvSpPr>
                <a:spLocks/>
              </p:cNvSpPr>
              <p:nvPr/>
            </p:nvSpPr>
            <p:spPr bwMode="auto">
              <a:xfrm>
                <a:off x="5538174" y="3111501"/>
                <a:ext cx="632687" cy="576263"/>
              </a:xfrm>
              <a:custGeom>
                <a:avLst/>
                <a:gdLst>
                  <a:gd name="connsiteX0" fmla="*/ 217844 w 632687"/>
                  <a:gd name="connsiteY0" fmla="*/ 434975 h 576263"/>
                  <a:gd name="connsiteX1" fmla="*/ 225710 w 632687"/>
                  <a:gd name="connsiteY1" fmla="*/ 434975 h 576263"/>
                  <a:gd name="connsiteX2" fmla="*/ 230000 w 632687"/>
                  <a:gd name="connsiteY2" fmla="*/ 440713 h 576263"/>
                  <a:gd name="connsiteX3" fmla="*/ 316526 w 632687"/>
                  <a:gd name="connsiteY3" fmla="*/ 474421 h 576263"/>
                  <a:gd name="connsiteX4" fmla="*/ 402337 w 632687"/>
                  <a:gd name="connsiteY4" fmla="*/ 440713 h 576263"/>
                  <a:gd name="connsiteX5" fmla="*/ 406628 w 632687"/>
                  <a:gd name="connsiteY5" fmla="*/ 434975 h 576263"/>
                  <a:gd name="connsiteX6" fmla="*/ 414494 w 632687"/>
                  <a:gd name="connsiteY6" fmla="*/ 434975 h 576263"/>
                  <a:gd name="connsiteX7" fmla="*/ 550361 w 632687"/>
                  <a:gd name="connsiteY7" fmla="*/ 455057 h 576263"/>
                  <a:gd name="connsiteX8" fmla="*/ 631166 w 632687"/>
                  <a:gd name="connsiteY8" fmla="*/ 551161 h 576263"/>
                  <a:gd name="connsiteX9" fmla="*/ 629021 w 632687"/>
                  <a:gd name="connsiteY9" fmla="*/ 568374 h 576263"/>
                  <a:gd name="connsiteX10" fmla="*/ 610428 w 632687"/>
                  <a:gd name="connsiteY10" fmla="*/ 576263 h 576263"/>
                  <a:gd name="connsiteX11" fmla="*/ 21909 w 632687"/>
                  <a:gd name="connsiteY11" fmla="*/ 576263 h 576263"/>
                  <a:gd name="connsiteX12" fmla="*/ 4031 w 632687"/>
                  <a:gd name="connsiteY12" fmla="*/ 568374 h 576263"/>
                  <a:gd name="connsiteX13" fmla="*/ 1171 w 632687"/>
                  <a:gd name="connsiteY13" fmla="*/ 551161 h 576263"/>
                  <a:gd name="connsiteX14" fmla="*/ 81976 w 632687"/>
                  <a:gd name="connsiteY14" fmla="*/ 455057 h 576263"/>
                  <a:gd name="connsiteX15" fmla="*/ 217844 w 632687"/>
                  <a:gd name="connsiteY15" fmla="*/ 434975 h 576263"/>
                  <a:gd name="connsiteX16" fmla="*/ 175930 w 632687"/>
                  <a:gd name="connsiteY16" fmla="*/ 246062 h 576263"/>
                  <a:gd name="connsiteX17" fmla="*/ 191622 w 632687"/>
                  <a:gd name="connsiteY17" fmla="*/ 271128 h 576263"/>
                  <a:gd name="connsiteX18" fmla="*/ 195902 w 632687"/>
                  <a:gd name="connsiteY18" fmla="*/ 275425 h 576263"/>
                  <a:gd name="connsiteX19" fmla="*/ 242978 w 632687"/>
                  <a:gd name="connsiteY19" fmla="*/ 374256 h 576263"/>
                  <a:gd name="connsiteX20" fmla="*/ 316446 w 632687"/>
                  <a:gd name="connsiteY20" fmla="*/ 411496 h 576263"/>
                  <a:gd name="connsiteX21" fmla="*/ 389914 w 632687"/>
                  <a:gd name="connsiteY21" fmla="*/ 374256 h 576263"/>
                  <a:gd name="connsiteX22" fmla="*/ 436990 w 632687"/>
                  <a:gd name="connsiteY22" fmla="*/ 275425 h 576263"/>
                  <a:gd name="connsiteX23" fmla="*/ 440557 w 632687"/>
                  <a:gd name="connsiteY23" fmla="*/ 271844 h 576263"/>
                  <a:gd name="connsiteX24" fmla="*/ 451256 w 632687"/>
                  <a:gd name="connsiteY24" fmla="*/ 261818 h 576263"/>
                  <a:gd name="connsiteX25" fmla="*/ 470514 w 632687"/>
                  <a:gd name="connsiteY25" fmla="*/ 256805 h 576263"/>
                  <a:gd name="connsiteX26" fmla="*/ 449829 w 632687"/>
                  <a:gd name="connsiteY26" fmla="*/ 284019 h 576263"/>
                  <a:gd name="connsiteX27" fmla="*/ 399900 w 632687"/>
                  <a:gd name="connsiteY27" fmla="*/ 385714 h 576263"/>
                  <a:gd name="connsiteX28" fmla="*/ 397760 w 632687"/>
                  <a:gd name="connsiteY28" fmla="*/ 387147 h 576263"/>
                  <a:gd name="connsiteX29" fmla="*/ 397760 w 632687"/>
                  <a:gd name="connsiteY29" fmla="*/ 420090 h 576263"/>
                  <a:gd name="connsiteX30" fmla="*/ 389914 w 632687"/>
                  <a:gd name="connsiteY30" fmla="*/ 430117 h 576263"/>
                  <a:gd name="connsiteX31" fmla="*/ 382781 w 632687"/>
                  <a:gd name="connsiteY31" fmla="*/ 436562 h 576263"/>
                  <a:gd name="connsiteX32" fmla="*/ 382781 w 632687"/>
                  <a:gd name="connsiteY32" fmla="*/ 398605 h 576263"/>
                  <a:gd name="connsiteX33" fmla="*/ 316446 w 632687"/>
                  <a:gd name="connsiteY33" fmla="*/ 426536 h 576263"/>
                  <a:gd name="connsiteX34" fmla="*/ 249398 w 632687"/>
                  <a:gd name="connsiteY34" fmla="*/ 398605 h 576263"/>
                  <a:gd name="connsiteX35" fmla="*/ 249398 w 632687"/>
                  <a:gd name="connsiteY35" fmla="*/ 436562 h 576263"/>
                  <a:gd name="connsiteX36" fmla="*/ 242978 w 632687"/>
                  <a:gd name="connsiteY36" fmla="*/ 430833 h 576263"/>
                  <a:gd name="connsiteX37" fmla="*/ 234419 w 632687"/>
                  <a:gd name="connsiteY37" fmla="*/ 420090 h 576263"/>
                  <a:gd name="connsiteX38" fmla="*/ 234419 w 632687"/>
                  <a:gd name="connsiteY38" fmla="*/ 387147 h 576263"/>
                  <a:gd name="connsiteX39" fmla="*/ 232992 w 632687"/>
                  <a:gd name="connsiteY39" fmla="*/ 385714 h 576263"/>
                  <a:gd name="connsiteX40" fmla="*/ 183063 w 632687"/>
                  <a:gd name="connsiteY40" fmla="*/ 284019 h 576263"/>
                  <a:gd name="connsiteX41" fmla="*/ 160951 w 632687"/>
                  <a:gd name="connsiteY41" fmla="*/ 247494 h 576263"/>
                  <a:gd name="connsiteX42" fmla="*/ 166657 w 632687"/>
                  <a:gd name="connsiteY42" fmla="*/ 248211 h 576263"/>
                  <a:gd name="connsiteX43" fmla="*/ 175930 w 632687"/>
                  <a:gd name="connsiteY43" fmla="*/ 246062 h 576263"/>
                  <a:gd name="connsiteX44" fmla="*/ 315935 w 632687"/>
                  <a:gd name="connsiteY44" fmla="*/ 0 h 576263"/>
                  <a:gd name="connsiteX45" fmla="*/ 477268 w 632687"/>
                  <a:gd name="connsiteY45" fmla="*/ 163848 h 576263"/>
                  <a:gd name="connsiteX46" fmla="*/ 476554 w 632687"/>
                  <a:gd name="connsiteY46" fmla="*/ 194614 h 576263"/>
                  <a:gd name="connsiteX47" fmla="*/ 487976 w 632687"/>
                  <a:gd name="connsiteY47" fmla="*/ 230389 h 576263"/>
                  <a:gd name="connsiteX48" fmla="*/ 438720 w 632687"/>
                  <a:gd name="connsiteY48" fmla="*/ 244699 h 576263"/>
                  <a:gd name="connsiteX49" fmla="*/ 242407 w 632687"/>
                  <a:gd name="connsiteY49" fmla="*/ 128789 h 576263"/>
                  <a:gd name="connsiteX50" fmla="*/ 226702 w 632687"/>
                  <a:gd name="connsiteY50" fmla="*/ 138090 h 576263"/>
                  <a:gd name="connsiteX51" fmla="*/ 163168 w 632687"/>
                  <a:gd name="connsiteY51" fmla="*/ 231820 h 576263"/>
                  <a:gd name="connsiteX52" fmla="*/ 154601 w 632687"/>
                  <a:gd name="connsiteY52" fmla="*/ 163848 h 576263"/>
                  <a:gd name="connsiteX53" fmla="*/ 315935 w 632687"/>
                  <a:gd name="connsiteY53" fmla="*/ 0 h 57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2687" h="576263">
                    <a:moveTo>
                      <a:pt x="217844" y="434975"/>
                    </a:moveTo>
                    <a:cubicBezTo>
                      <a:pt x="217844" y="434975"/>
                      <a:pt x="217844" y="434975"/>
                      <a:pt x="225710" y="434975"/>
                    </a:cubicBezTo>
                    <a:cubicBezTo>
                      <a:pt x="225710" y="434975"/>
                      <a:pt x="225710" y="434975"/>
                      <a:pt x="230000" y="440713"/>
                    </a:cubicBezTo>
                    <a:cubicBezTo>
                      <a:pt x="231431" y="441430"/>
                      <a:pt x="260034" y="473704"/>
                      <a:pt x="316526" y="474421"/>
                    </a:cubicBezTo>
                    <a:cubicBezTo>
                      <a:pt x="372303" y="473704"/>
                      <a:pt x="400907" y="441430"/>
                      <a:pt x="402337" y="440713"/>
                    </a:cubicBezTo>
                    <a:cubicBezTo>
                      <a:pt x="402337" y="440713"/>
                      <a:pt x="402337" y="440713"/>
                      <a:pt x="406628" y="434975"/>
                    </a:cubicBezTo>
                    <a:cubicBezTo>
                      <a:pt x="406628" y="434975"/>
                      <a:pt x="406628" y="434975"/>
                      <a:pt x="414494" y="434975"/>
                    </a:cubicBezTo>
                    <a:cubicBezTo>
                      <a:pt x="418069" y="434975"/>
                      <a:pt x="502450" y="436410"/>
                      <a:pt x="550361" y="455057"/>
                    </a:cubicBezTo>
                    <a:cubicBezTo>
                      <a:pt x="590406" y="470118"/>
                      <a:pt x="618294" y="521756"/>
                      <a:pt x="631166" y="551161"/>
                    </a:cubicBezTo>
                    <a:cubicBezTo>
                      <a:pt x="634026" y="556899"/>
                      <a:pt x="632596" y="563354"/>
                      <a:pt x="629021" y="568374"/>
                    </a:cubicBezTo>
                    <a:cubicBezTo>
                      <a:pt x="624730" y="573394"/>
                      <a:pt x="617579" y="576263"/>
                      <a:pt x="610428" y="576263"/>
                    </a:cubicBezTo>
                    <a:cubicBezTo>
                      <a:pt x="610428" y="576263"/>
                      <a:pt x="610428" y="576263"/>
                      <a:pt x="21909" y="576263"/>
                    </a:cubicBezTo>
                    <a:cubicBezTo>
                      <a:pt x="14758" y="576263"/>
                      <a:pt x="7607" y="573394"/>
                      <a:pt x="4031" y="568374"/>
                    </a:cubicBezTo>
                    <a:cubicBezTo>
                      <a:pt x="-259" y="563354"/>
                      <a:pt x="-974" y="556899"/>
                      <a:pt x="1171" y="551161"/>
                    </a:cubicBezTo>
                    <a:cubicBezTo>
                      <a:pt x="14043" y="521756"/>
                      <a:pt x="41931" y="470118"/>
                      <a:pt x="81976" y="455057"/>
                    </a:cubicBezTo>
                    <a:cubicBezTo>
                      <a:pt x="129887" y="436410"/>
                      <a:pt x="214268" y="434975"/>
                      <a:pt x="217844" y="434975"/>
                    </a:cubicBezTo>
                    <a:close/>
                    <a:moveTo>
                      <a:pt x="175930" y="246062"/>
                    </a:moveTo>
                    <a:cubicBezTo>
                      <a:pt x="178070" y="256088"/>
                      <a:pt x="182350" y="267547"/>
                      <a:pt x="191622" y="271128"/>
                    </a:cubicBezTo>
                    <a:cubicBezTo>
                      <a:pt x="193762" y="271844"/>
                      <a:pt x="195189" y="273276"/>
                      <a:pt x="195902" y="275425"/>
                    </a:cubicBezTo>
                    <a:cubicBezTo>
                      <a:pt x="209454" y="309085"/>
                      <a:pt x="233706" y="366378"/>
                      <a:pt x="242978" y="374256"/>
                    </a:cubicBezTo>
                    <a:cubicBezTo>
                      <a:pt x="257244" y="387147"/>
                      <a:pt x="295761" y="411496"/>
                      <a:pt x="316446" y="411496"/>
                    </a:cubicBezTo>
                    <a:cubicBezTo>
                      <a:pt x="337131" y="411496"/>
                      <a:pt x="375648" y="387147"/>
                      <a:pt x="389914" y="374256"/>
                    </a:cubicBezTo>
                    <a:cubicBezTo>
                      <a:pt x="399186" y="366378"/>
                      <a:pt x="423438" y="309085"/>
                      <a:pt x="436990" y="275425"/>
                    </a:cubicBezTo>
                    <a:cubicBezTo>
                      <a:pt x="437703" y="273993"/>
                      <a:pt x="439130" y="272560"/>
                      <a:pt x="440557" y="271844"/>
                    </a:cubicBezTo>
                    <a:cubicBezTo>
                      <a:pt x="445549" y="268979"/>
                      <a:pt x="448403" y="265399"/>
                      <a:pt x="451256" y="261818"/>
                    </a:cubicBezTo>
                    <a:cubicBezTo>
                      <a:pt x="457675" y="261102"/>
                      <a:pt x="464095" y="259669"/>
                      <a:pt x="470514" y="256805"/>
                    </a:cubicBezTo>
                    <a:cubicBezTo>
                      <a:pt x="467661" y="265399"/>
                      <a:pt x="461955" y="276857"/>
                      <a:pt x="449829" y="284019"/>
                    </a:cubicBezTo>
                    <a:cubicBezTo>
                      <a:pt x="441983" y="303355"/>
                      <a:pt x="414165" y="373540"/>
                      <a:pt x="399900" y="385714"/>
                    </a:cubicBezTo>
                    <a:cubicBezTo>
                      <a:pt x="399186" y="386431"/>
                      <a:pt x="398473" y="387147"/>
                      <a:pt x="397760" y="387147"/>
                    </a:cubicBezTo>
                    <a:cubicBezTo>
                      <a:pt x="397760" y="387147"/>
                      <a:pt x="397760" y="387147"/>
                      <a:pt x="397760" y="420090"/>
                    </a:cubicBezTo>
                    <a:cubicBezTo>
                      <a:pt x="397760" y="420090"/>
                      <a:pt x="397760" y="420090"/>
                      <a:pt x="389914" y="430117"/>
                    </a:cubicBezTo>
                    <a:cubicBezTo>
                      <a:pt x="389200" y="430833"/>
                      <a:pt x="387061" y="432981"/>
                      <a:pt x="382781" y="436562"/>
                    </a:cubicBezTo>
                    <a:cubicBezTo>
                      <a:pt x="382781" y="429400"/>
                      <a:pt x="382781" y="417942"/>
                      <a:pt x="382781" y="398605"/>
                    </a:cubicBezTo>
                    <a:cubicBezTo>
                      <a:pt x="363522" y="412213"/>
                      <a:pt x="335705" y="426536"/>
                      <a:pt x="316446" y="426536"/>
                    </a:cubicBezTo>
                    <a:cubicBezTo>
                      <a:pt x="296474" y="426536"/>
                      <a:pt x="268656" y="412213"/>
                      <a:pt x="249398" y="398605"/>
                    </a:cubicBezTo>
                    <a:cubicBezTo>
                      <a:pt x="249398" y="398605"/>
                      <a:pt x="249398" y="398605"/>
                      <a:pt x="249398" y="436562"/>
                    </a:cubicBezTo>
                    <a:cubicBezTo>
                      <a:pt x="245118" y="432981"/>
                      <a:pt x="242978" y="430833"/>
                      <a:pt x="242978" y="430833"/>
                    </a:cubicBezTo>
                    <a:cubicBezTo>
                      <a:pt x="242978" y="430833"/>
                      <a:pt x="242978" y="430833"/>
                      <a:pt x="234419" y="420090"/>
                    </a:cubicBezTo>
                    <a:cubicBezTo>
                      <a:pt x="234419" y="412929"/>
                      <a:pt x="234419" y="402902"/>
                      <a:pt x="234419" y="387147"/>
                    </a:cubicBezTo>
                    <a:cubicBezTo>
                      <a:pt x="233706" y="386431"/>
                      <a:pt x="232992" y="386431"/>
                      <a:pt x="232992" y="385714"/>
                    </a:cubicBezTo>
                    <a:cubicBezTo>
                      <a:pt x="218727" y="373540"/>
                      <a:pt x="190909" y="304788"/>
                      <a:pt x="183063" y="284019"/>
                    </a:cubicBezTo>
                    <a:cubicBezTo>
                      <a:pt x="168797" y="276857"/>
                      <a:pt x="163091" y="259669"/>
                      <a:pt x="160951" y="247494"/>
                    </a:cubicBezTo>
                    <a:cubicBezTo>
                      <a:pt x="163091" y="248211"/>
                      <a:pt x="165231" y="248211"/>
                      <a:pt x="166657" y="248211"/>
                    </a:cubicBezTo>
                    <a:cubicBezTo>
                      <a:pt x="170224" y="248211"/>
                      <a:pt x="173077" y="247494"/>
                      <a:pt x="175930" y="246062"/>
                    </a:cubicBezTo>
                    <a:close/>
                    <a:moveTo>
                      <a:pt x="315935" y="0"/>
                    </a:moveTo>
                    <a:cubicBezTo>
                      <a:pt x="407309" y="0"/>
                      <a:pt x="477268" y="73696"/>
                      <a:pt x="477268" y="163848"/>
                    </a:cubicBezTo>
                    <a:cubicBezTo>
                      <a:pt x="477268" y="174580"/>
                      <a:pt x="477268" y="184597"/>
                      <a:pt x="476554" y="194614"/>
                    </a:cubicBezTo>
                    <a:cubicBezTo>
                      <a:pt x="475841" y="203916"/>
                      <a:pt x="478696" y="216794"/>
                      <a:pt x="487976" y="230389"/>
                    </a:cubicBezTo>
                    <a:cubicBezTo>
                      <a:pt x="487976" y="230389"/>
                      <a:pt x="454425" y="254000"/>
                      <a:pt x="438720" y="244699"/>
                    </a:cubicBezTo>
                    <a:cubicBezTo>
                      <a:pt x="420159" y="234682"/>
                      <a:pt x="343062" y="128789"/>
                      <a:pt x="242407" y="128789"/>
                    </a:cubicBezTo>
                    <a:cubicBezTo>
                      <a:pt x="242407" y="128789"/>
                      <a:pt x="231699" y="134513"/>
                      <a:pt x="226702" y="138090"/>
                    </a:cubicBezTo>
                    <a:cubicBezTo>
                      <a:pt x="181014" y="168856"/>
                      <a:pt x="178873" y="246130"/>
                      <a:pt x="163168" y="231820"/>
                    </a:cubicBezTo>
                    <a:cubicBezTo>
                      <a:pt x="157457" y="223949"/>
                      <a:pt x="154601" y="183882"/>
                      <a:pt x="154601" y="163848"/>
                    </a:cubicBezTo>
                    <a:cubicBezTo>
                      <a:pt x="154601" y="73696"/>
                      <a:pt x="224560" y="0"/>
                      <a:pt x="31593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8" name="Freeform 87"/>
              <p:cNvSpPr>
                <a:spLocks/>
              </p:cNvSpPr>
              <p:nvPr/>
            </p:nvSpPr>
            <p:spPr bwMode="auto">
              <a:xfrm>
                <a:off x="5445125" y="3021013"/>
                <a:ext cx="1303338" cy="757238"/>
              </a:xfrm>
              <a:custGeom>
                <a:avLst/>
                <a:gdLst>
                  <a:gd name="connsiteX0" fmla="*/ 803110 w 1303338"/>
                  <a:gd name="connsiteY0" fmla="*/ 596900 h 757238"/>
                  <a:gd name="connsiteX1" fmla="*/ 1184440 w 1303338"/>
                  <a:gd name="connsiteY1" fmla="*/ 596900 h 757238"/>
                  <a:gd name="connsiteX2" fmla="*/ 1200150 w 1303338"/>
                  <a:gd name="connsiteY2" fmla="*/ 612775 h 757238"/>
                  <a:gd name="connsiteX3" fmla="*/ 1184440 w 1303338"/>
                  <a:gd name="connsiteY3" fmla="*/ 628650 h 757238"/>
                  <a:gd name="connsiteX4" fmla="*/ 803110 w 1303338"/>
                  <a:gd name="connsiteY4" fmla="*/ 628650 h 757238"/>
                  <a:gd name="connsiteX5" fmla="*/ 787400 w 1303338"/>
                  <a:gd name="connsiteY5" fmla="*/ 612775 h 757238"/>
                  <a:gd name="connsiteX6" fmla="*/ 803110 w 1303338"/>
                  <a:gd name="connsiteY6" fmla="*/ 596900 h 757238"/>
                  <a:gd name="connsiteX7" fmla="*/ 803110 w 1303338"/>
                  <a:gd name="connsiteY7" fmla="*/ 503238 h 757238"/>
                  <a:gd name="connsiteX8" fmla="*/ 1184440 w 1303338"/>
                  <a:gd name="connsiteY8" fmla="*/ 503238 h 757238"/>
                  <a:gd name="connsiteX9" fmla="*/ 1200150 w 1303338"/>
                  <a:gd name="connsiteY9" fmla="*/ 519113 h 757238"/>
                  <a:gd name="connsiteX10" fmla="*/ 1184440 w 1303338"/>
                  <a:gd name="connsiteY10" fmla="*/ 534988 h 757238"/>
                  <a:gd name="connsiteX11" fmla="*/ 803110 w 1303338"/>
                  <a:gd name="connsiteY11" fmla="*/ 534988 h 757238"/>
                  <a:gd name="connsiteX12" fmla="*/ 787400 w 1303338"/>
                  <a:gd name="connsiteY12" fmla="*/ 519113 h 757238"/>
                  <a:gd name="connsiteX13" fmla="*/ 803110 w 1303338"/>
                  <a:gd name="connsiteY13" fmla="*/ 503238 h 757238"/>
                  <a:gd name="connsiteX14" fmla="*/ 803110 w 1303338"/>
                  <a:gd name="connsiteY14" fmla="*/ 409575 h 757238"/>
                  <a:gd name="connsiteX15" fmla="*/ 1184440 w 1303338"/>
                  <a:gd name="connsiteY15" fmla="*/ 409575 h 757238"/>
                  <a:gd name="connsiteX16" fmla="*/ 1200150 w 1303338"/>
                  <a:gd name="connsiteY16" fmla="*/ 425450 h 757238"/>
                  <a:gd name="connsiteX17" fmla="*/ 1184440 w 1303338"/>
                  <a:gd name="connsiteY17" fmla="*/ 441325 h 757238"/>
                  <a:gd name="connsiteX18" fmla="*/ 803110 w 1303338"/>
                  <a:gd name="connsiteY18" fmla="*/ 441325 h 757238"/>
                  <a:gd name="connsiteX19" fmla="*/ 787400 w 1303338"/>
                  <a:gd name="connsiteY19" fmla="*/ 425450 h 757238"/>
                  <a:gd name="connsiteX20" fmla="*/ 803110 w 1303338"/>
                  <a:gd name="connsiteY20" fmla="*/ 409575 h 757238"/>
                  <a:gd name="connsiteX21" fmla="*/ 803110 w 1303338"/>
                  <a:gd name="connsiteY21" fmla="*/ 315913 h 757238"/>
                  <a:gd name="connsiteX22" fmla="*/ 1184440 w 1303338"/>
                  <a:gd name="connsiteY22" fmla="*/ 315913 h 757238"/>
                  <a:gd name="connsiteX23" fmla="*/ 1200150 w 1303338"/>
                  <a:gd name="connsiteY23" fmla="*/ 331788 h 757238"/>
                  <a:gd name="connsiteX24" fmla="*/ 1184440 w 1303338"/>
                  <a:gd name="connsiteY24" fmla="*/ 347663 h 757238"/>
                  <a:gd name="connsiteX25" fmla="*/ 803110 w 1303338"/>
                  <a:gd name="connsiteY25" fmla="*/ 347663 h 757238"/>
                  <a:gd name="connsiteX26" fmla="*/ 787400 w 1303338"/>
                  <a:gd name="connsiteY26" fmla="*/ 331788 h 757238"/>
                  <a:gd name="connsiteX27" fmla="*/ 803110 w 1303338"/>
                  <a:gd name="connsiteY27" fmla="*/ 315913 h 757238"/>
                  <a:gd name="connsiteX28" fmla="*/ 803110 w 1303338"/>
                  <a:gd name="connsiteY28" fmla="*/ 222250 h 757238"/>
                  <a:gd name="connsiteX29" fmla="*/ 1184440 w 1303338"/>
                  <a:gd name="connsiteY29" fmla="*/ 222250 h 757238"/>
                  <a:gd name="connsiteX30" fmla="*/ 1200150 w 1303338"/>
                  <a:gd name="connsiteY30" fmla="*/ 238125 h 757238"/>
                  <a:gd name="connsiteX31" fmla="*/ 1184440 w 1303338"/>
                  <a:gd name="connsiteY31" fmla="*/ 254000 h 757238"/>
                  <a:gd name="connsiteX32" fmla="*/ 803110 w 1303338"/>
                  <a:gd name="connsiteY32" fmla="*/ 254000 h 757238"/>
                  <a:gd name="connsiteX33" fmla="*/ 787400 w 1303338"/>
                  <a:gd name="connsiteY33" fmla="*/ 238125 h 757238"/>
                  <a:gd name="connsiteX34" fmla="*/ 803110 w 1303338"/>
                  <a:gd name="connsiteY34" fmla="*/ 222250 h 757238"/>
                  <a:gd name="connsiteX35" fmla="*/ 803110 w 1303338"/>
                  <a:gd name="connsiteY35" fmla="*/ 128588 h 757238"/>
                  <a:gd name="connsiteX36" fmla="*/ 1184440 w 1303338"/>
                  <a:gd name="connsiteY36" fmla="*/ 128588 h 757238"/>
                  <a:gd name="connsiteX37" fmla="*/ 1200150 w 1303338"/>
                  <a:gd name="connsiteY37" fmla="*/ 144463 h 757238"/>
                  <a:gd name="connsiteX38" fmla="*/ 1184440 w 1303338"/>
                  <a:gd name="connsiteY38" fmla="*/ 160338 h 757238"/>
                  <a:gd name="connsiteX39" fmla="*/ 803110 w 1303338"/>
                  <a:gd name="connsiteY39" fmla="*/ 160338 h 757238"/>
                  <a:gd name="connsiteX40" fmla="*/ 787400 w 1303338"/>
                  <a:gd name="connsiteY40" fmla="*/ 144463 h 757238"/>
                  <a:gd name="connsiteX41" fmla="*/ 803110 w 1303338"/>
                  <a:gd name="connsiteY41" fmla="*/ 128588 h 757238"/>
                  <a:gd name="connsiteX42" fmla="*/ 100313 w 1303338"/>
                  <a:gd name="connsiteY42" fmla="*/ 31750 h 757238"/>
                  <a:gd name="connsiteX43" fmla="*/ 31750 w 1303338"/>
                  <a:gd name="connsiteY43" fmla="*/ 100267 h 757238"/>
                  <a:gd name="connsiteX44" fmla="*/ 31750 w 1303338"/>
                  <a:gd name="connsiteY44" fmla="*/ 656971 h 757238"/>
                  <a:gd name="connsiteX45" fmla="*/ 100313 w 1303338"/>
                  <a:gd name="connsiteY45" fmla="*/ 725488 h 757238"/>
                  <a:gd name="connsiteX46" fmla="*/ 1203026 w 1303338"/>
                  <a:gd name="connsiteY46" fmla="*/ 725488 h 757238"/>
                  <a:gd name="connsiteX47" fmla="*/ 1271588 w 1303338"/>
                  <a:gd name="connsiteY47" fmla="*/ 656971 h 757238"/>
                  <a:gd name="connsiteX48" fmla="*/ 1271588 w 1303338"/>
                  <a:gd name="connsiteY48" fmla="*/ 100267 h 757238"/>
                  <a:gd name="connsiteX49" fmla="*/ 1203026 w 1303338"/>
                  <a:gd name="connsiteY49" fmla="*/ 31750 h 757238"/>
                  <a:gd name="connsiteX50" fmla="*/ 100313 w 1303338"/>
                  <a:gd name="connsiteY50" fmla="*/ 31750 h 757238"/>
                  <a:gd name="connsiteX51" fmla="*/ 100037 w 1303338"/>
                  <a:gd name="connsiteY51" fmla="*/ 0 h 757238"/>
                  <a:gd name="connsiteX52" fmla="*/ 1203301 w 1303338"/>
                  <a:gd name="connsiteY52" fmla="*/ 0 h 757238"/>
                  <a:gd name="connsiteX53" fmla="*/ 1303338 w 1303338"/>
                  <a:gd name="connsiteY53" fmla="*/ 100013 h 757238"/>
                  <a:gd name="connsiteX54" fmla="*/ 1303338 w 1303338"/>
                  <a:gd name="connsiteY54" fmla="*/ 657226 h 757238"/>
                  <a:gd name="connsiteX55" fmla="*/ 1203301 w 1303338"/>
                  <a:gd name="connsiteY55" fmla="*/ 757238 h 757238"/>
                  <a:gd name="connsiteX56" fmla="*/ 100037 w 1303338"/>
                  <a:gd name="connsiteY56" fmla="*/ 757238 h 757238"/>
                  <a:gd name="connsiteX57" fmla="*/ 0 w 1303338"/>
                  <a:gd name="connsiteY57" fmla="*/ 657226 h 757238"/>
                  <a:gd name="connsiteX58" fmla="*/ 0 w 1303338"/>
                  <a:gd name="connsiteY58" fmla="*/ 100013 h 757238"/>
                  <a:gd name="connsiteX59" fmla="*/ 100037 w 1303338"/>
                  <a:gd name="connsiteY59" fmla="*/ 0 h 75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03338" h="757238">
                    <a:moveTo>
                      <a:pt x="803110" y="596900"/>
                    </a:moveTo>
                    <a:cubicBezTo>
                      <a:pt x="803110" y="596900"/>
                      <a:pt x="803110" y="596900"/>
                      <a:pt x="1184440" y="596900"/>
                    </a:cubicBezTo>
                    <a:cubicBezTo>
                      <a:pt x="1193009" y="596900"/>
                      <a:pt x="1200150" y="603394"/>
                      <a:pt x="1200150" y="612775"/>
                    </a:cubicBezTo>
                    <a:cubicBezTo>
                      <a:pt x="1200150" y="621434"/>
                      <a:pt x="1193009" y="628650"/>
                      <a:pt x="1184440" y="628650"/>
                    </a:cubicBezTo>
                    <a:cubicBezTo>
                      <a:pt x="1184440" y="628650"/>
                      <a:pt x="1184440" y="628650"/>
                      <a:pt x="803110" y="628650"/>
                    </a:cubicBezTo>
                    <a:cubicBezTo>
                      <a:pt x="794541" y="628650"/>
                      <a:pt x="787400" y="621434"/>
                      <a:pt x="787400" y="612775"/>
                    </a:cubicBezTo>
                    <a:cubicBezTo>
                      <a:pt x="787400" y="603394"/>
                      <a:pt x="794541" y="596900"/>
                      <a:pt x="803110" y="596900"/>
                    </a:cubicBezTo>
                    <a:close/>
                    <a:moveTo>
                      <a:pt x="803110" y="503238"/>
                    </a:moveTo>
                    <a:cubicBezTo>
                      <a:pt x="803110" y="503238"/>
                      <a:pt x="803110" y="503238"/>
                      <a:pt x="1184440" y="503238"/>
                    </a:cubicBezTo>
                    <a:cubicBezTo>
                      <a:pt x="1193009" y="503238"/>
                      <a:pt x="1200150" y="509732"/>
                      <a:pt x="1200150" y="519113"/>
                    </a:cubicBezTo>
                    <a:cubicBezTo>
                      <a:pt x="1200150" y="527772"/>
                      <a:pt x="1193009" y="534988"/>
                      <a:pt x="1184440" y="534988"/>
                    </a:cubicBezTo>
                    <a:cubicBezTo>
                      <a:pt x="1184440" y="534988"/>
                      <a:pt x="1184440" y="534988"/>
                      <a:pt x="803110" y="534988"/>
                    </a:cubicBezTo>
                    <a:cubicBezTo>
                      <a:pt x="794541" y="534988"/>
                      <a:pt x="787400" y="527772"/>
                      <a:pt x="787400" y="519113"/>
                    </a:cubicBezTo>
                    <a:cubicBezTo>
                      <a:pt x="787400" y="509732"/>
                      <a:pt x="794541" y="503238"/>
                      <a:pt x="803110" y="503238"/>
                    </a:cubicBezTo>
                    <a:close/>
                    <a:moveTo>
                      <a:pt x="803110" y="409575"/>
                    </a:moveTo>
                    <a:cubicBezTo>
                      <a:pt x="803110" y="409575"/>
                      <a:pt x="803110" y="409575"/>
                      <a:pt x="1184440" y="409575"/>
                    </a:cubicBezTo>
                    <a:cubicBezTo>
                      <a:pt x="1193009" y="409575"/>
                      <a:pt x="1200150" y="416069"/>
                      <a:pt x="1200150" y="425450"/>
                    </a:cubicBezTo>
                    <a:cubicBezTo>
                      <a:pt x="1200150" y="434109"/>
                      <a:pt x="1193009" y="441325"/>
                      <a:pt x="1184440" y="441325"/>
                    </a:cubicBezTo>
                    <a:cubicBezTo>
                      <a:pt x="1184440" y="441325"/>
                      <a:pt x="1184440" y="441325"/>
                      <a:pt x="803110" y="441325"/>
                    </a:cubicBezTo>
                    <a:cubicBezTo>
                      <a:pt x="794541" y="441325"/>
                      <a:pt x="787400" y="434109"/>
                      <a:pt x="787400" y="425450"/>
                    </a:cubicBezTo>
                    <a:cubicBezTo>
                      <a:pt x="787400" y="416069"/>
                      <a:pt x="794541" y="409575"/>
                      <a:pt x="803110" y="409575"/>
                    </a:cubicBezTo>
                    <a:close/>
                    <a:moveTo>
                      <a:pt x="803110" y="315913"/>
                    </a:moveTo>
                    <a:cubicBezTo>
                      <a:pt x="803110" y="315913"/>
                      <a:pt x="803110" y="315913"/>
                      <a:pt x="1184440" y="315913"/>
                    </a:cubicBezTo>
                    <a:cubicBezTo>
                      <a:pt x="1193009" y="315913"/>
                      <a:pt x="1200150" y="323129"/>
                      <a:pt x="1200150" y="331788"/>
                    </a:cubicBezTo>
                    <a:cubicBezTo>
                      <a:pt x="1200150" y="341169"/>
                      <a:pt x="1193009" y="347663"/>
                      <a:pt x="1184440" y="347663"/>
                    </a:cubicBezTo>
                    <a:cubicBezTo>
                      <a:pt x="1184440" y="347663"/>
                      <a:pt x="1184440" y="347663"/>
                      <a:pt x="803110" y="347663"/>
                    </a:cubicBezTo>
                    <a:cubicBezTo>
                      <a:pt x="794541" y="347663"/>
                      <a:pt x="787400" y="341169"/>
                      <a:pt x="787400" y="331788"/>
                    </a:cubicBezTo>
                    <a:cubicBezTo>
                      <a:pt x="787400" y="323129"/>
                      <a:pt x="794541" y="315913"/>
                      <a:pt x="803110" y="315913"/>
                    </a:cubicBezTo>
                    <a:close/>
                    <a:moveTo>
                      <a:pt x="803110" y="222250"/>
                    </a:moveTo>
                    <a:cubicBezTo>
                      <a:pt x="803110" y="222250"/>
                      <a:pt x="803110" y="222250"/>
                      <a:pt x="1184440" y="222250"/>
                    </a:cubicBezTo>
                    <a:cubicBezTo>
                      <a:pt x="1193009" y="222250"/>
                      <a:pt x="1200150" y="229466"/>
                      <a:pt x="1200150" y="238125"/>
                    </a:cubicBezTo>
                    <a:cubicBezTo>
                      <a:pt x="1200150" y="247506"/>
                      <a:pt x="1193009" y="254000"/>
                      <a:pt x="1184440" y="254000"/>
                    </a:cubicBezTo>
                    <a:cubicBezTo>
                      <a:pt x="1184440" y="254000"/>
                      <a:pt x="1184440" y="254000"/>
                      <a:pt x="803110" y="254000"/>
                    </a:cubicBezTo>
                    <a:cubicBezTo>
                      <a:pt x="794541" y="254000"/>
                      <a:pt x="787400" y="247506"/>
                      <a:pt x="787400" y="238125"/>
                    </a:cubicBezTo>
                    <a:cubicBezTo>
                      <a:pt x="787400" y="229466"/>
                      <a:pt x="794541" y="222250"/>
                      <a:pt x="803110" y="222250"/>
                    </a:cubicBezTo>
                    <a:close/>
                    <a:moveTo>
                      <a:pt x="803110" y="128588"/>
                    </a:moveTo>
                    <a:cubicBezTo>
                      <a:pt x="803110" y="128588"/>
                      <a:pt x="803110" y="128588"/>
                      <a:pt x="1184440" y="128588"/>
                    </a:cubicBezTo>
                    <a:cubicBezTo>
                      <a:pt x="1193009" y="128588"/>
                      <a:pt x="1200150" y="135804"/>
                      <a:pt x="1200150" y="144463"/>
                    </a:cubicBezTo>
                    <a:cubicBezTo>
                      <a:pt x="1200150" y="153844"/>
                      <a:pt x="1193009" y="160338"/>
                      <a:pt x="1184440" y="160338"/>
                    </a:cubicBezTo>
                    <a:cubicBezTo>
                      <a:pt x="1184440" y="160338"/>
                      <a:pt x="1184440" y="160338"/>
                      <a:pt x="803110" y="160338"/>
                    </a:cubicBezTo>
                    <a:cubicBezTo>
                      <a:pt x="794541" y="160338"/>
                      <a:pt x="787400" y="153844"/>
                      <a:pt x="787400" y="144463"/>
                    </a:cubicBezTo>
                    <a:cubicBezTo>
                      <a:pt x="787400" y="135804"/>
                      <a:pt x="794541" y="128588"/>
                      <a:pt x="803110" y="128588"/>
                    </a:cubicBezTo>
                    <a:close/>
                    <a:moveTo>
                      <a:pt x="100313" y="31750"/>
                    </a:moveTo>
                    <a:cubicBezTo>
                      <a:pt x="62461" y="31750"/>
                      <a:pt x="31750" y="62440"/>
                      <a:pt x="31750" y="100267"/>
                    </a:cubicBezTo>
                    <a:cubicBezTo>
                      <a:pt x="31750" y="100267"/>
                      <a:pt x="31750" y="100267"/>
                      <a:pt x="31750" y="656971"/>
                    </a:cubicBezTo>
                    <a:cubicBezTo>
                      <a:pt x="31750" y="694798"/>
                      <a:pt x="62461" y="725488"/>
                      <a:pt x="100313" y="725488"/>
                    </a:cubicBezTo>
                    <a:cubicBezTo>
                      <a:pt x="100313" y="725488"/>
                      <a:pt x="100313" y="725488"/>
                      <a:pt x="1203026" y="725488"/>
                    </a:cubicBezTo>
                    <a:cubicBezTo>
                      <a:pt x="1240878" y="725488"/>
                      <a:pt x="1271588" y="694798"/>
                      <a:pt x="1271588" y="656971"/>
                    </a:cubicBezTo>
                    <a:lnTo>
                      <a:pt x="1271588" y="100267"/>
                    </a:lnTo>
                    <a:cubicBezTo>
                      <a:pt x="1271588" y="62440"/>
                      <a:pt x="1240878" y="31750"/>
                      <a:pt x="1203026" y="31750"/>
                    </a:cubicBezTo>
                    <a:cubicBezTo>
                      <a:pt x="1203026" y="31750"/>
                      <a:pt x="1203026" y="31750"/>
                      <a:pt x="100313" y="31750"/>
                    </a:cubicBezTo>
                    <a:close/>
                    <a:moveTo>
                      <a:pt x="100037" y="0"/>
                    </a:moveTo>
                    <a:cubicBezTo>
                      <a:pt x="100037" y="0"/>
                      <a:pt x="100037" y="0"/>
                      <a:pt x="1203301" y="0"/>
                    </a:cubicBezTo>
                    <a:cubicBezTo>
                      <a:pt x="1258322" y="0"/>
                      <a:pt x="1303338" y="45006"/>
                      <a:pt x="1303338" y="100013"/>
                    </a:cubicBezTo>
                    <a:cubicBezTo>
                      <a:pt x="1303338" y="100013"/>
                      <a:pt x="1303338" y="100013"/>
                      <a:pt x="1303338" y="657226"/>
                    </a:cubicBezTo>
                    <a:cubicBezTo>
                      <a:pt x="1303338" y="712233"/>
                      <a:pt x="1258322" y="757238"/>
                      <a:pt x="1203301" y="757238"/>
                    </a:cubicBezTo>
                    <a:cubicBezTo>
                      <a:pt x="1203301" y="757238"/>
                      <a:pt x="1203301" y="757238"/>
                      <a:pt x="100037" y="757238"/>
                    </a:cubicBezTo>
                    <a:cubicBezTo>
                      <a:pt x="45017" y="757238"/>
                      <a:pt x="0" y="712233"/>
                      <a:pt x="0" y="657226"/>
                    </a:cubicBezTo>
                    <a:cubicBezTo>
                      <a:pt x="0" y="657226"/>
                      <a:pt x="0" y="657226"/>
                      <a:pt x="0" y="100013"/>
                    </a:cubicBezTo>
                    <a:cubicBezTo>
                      <a:pt x="0" y="45006"/>
                      <a:pt x="45017" y="0"/>
                      <a:pt x="1000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9" name="Group 88"/>
          <p:cNvGrpSpPr>
            <a:grpSpLocks noChangeAspect="1"/>
          </p:cNvGrpSpPr>
          <p:nvPr/>
        </p:nvGrpSpPr>
        <p:grpSpPr>
          <a:xfrm>
            <a:off x="7423214" y="1785545"/>
            <a:ext cx="1081545" cy="1081545"/>
            <a:chOff x="5272088" y="2605088"/>
            <a:chExt cx="1646237" cy="1646237"/>
          </a:xfrm>
        </p:grpSpPr>
        <p:sp>
          <p:nvSpPr>
            <p:cNvPr id="90" name="AutoShape 3"/>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1" name="Group 90"/>
            <p:cNvGrpSpPr/>
            <p:nvPr/>
          </p:nvGrpSpPr>
          <p:grpSpPr>
            <a:xfrm>
              <a:off x="5545138" y="2887663"/>
              <a:ext cx="1100137" cy="1192212"/>
              <a:chOff x="5545138" y="2887663"/>
              <a:chExt cx="1100137" cy="1192212"/>
            </a:xfrm>
          </p:grpSpPr>
          <p:sp>
            <p:nvSpPr>
              <p:cNvPr id="92" name="Freeform 91"/>
              <p:cNvSpPr>
                <a:spLocks/>
              </p:cNvSpPr>
              <p:nvPr/>
            </p:nvSpPr>
            <p:spPr bwMode="auto">
              <a:xfrm>
                <a:off x="5545138" y="2887663"/>
                <a:ext cx="1100137" cy="1192212"/>
              </a:xfrm>
              <a:custGeom>
                <a:avLst/>
                <a:gdLst>
                  <a:gd name="connsiteX0" fmla="*/ 31750 w 1100137"/>
                  <a:gd name="connsiteY0" fmla="*/ 280987 h 1192212"/>
                  <a:gd name="connsiteX1" fmla="*/ 31750 w 1100137"/>
                  <a:gd name="connsiteY1" fmla="*/ 1162049 h 1192212"/>
                  <a:gd name="connsiteX2" fmla="*/ 655637 w 1100137"/>
                  <a:gd name="connsiteY2" fmla="*/ 1162049 h 1192212"/>
                  <a:gd name="connsiteX3" fmla="*/ 655637 w 1100137"/>
                  <a:gd name="connsiteY3" fmla="*/ 1068387 h 1192212"/>
                  <a:gd name="connsiteX4" fmla="*/ 655637 w 1100137"/>
                  <a:gd name="connsiteY4" fmla="*/ 1052512 h 1192212"/>
                  <a:gd name="connsiteX5" fmla="*/ 655637 w 1100137"/>
                  <a:gd name="connsiteY5" fmla="*/ 1036637 h 1192212"/>
                  <a:gd name="connsiteX6" fmla="*/ 655637 w 1100137"/>
                  <a:gd name="connsiteY6" fmla="*/ 1025524 h 1192212"/>
                  <a:gd name="connsiteX7" fmla="*/ 655637 w 1100137"/>
                  <a:gd name="connsiteY7" fmla="*/ 1009649 h 1192212"/>
                  <a:gd name="connsiteX8" fmla="*/ 655637 w 1100137"/>
                  <a:gd name="connsiteY8" fmla="*/ 993774 h 1192212"/>
                  <a:gd name="connsiteX9" fmla="*/ 655637 w 1100137"/>
                  <a:gd name="connsiteY9" fmla="*/ 974724 h 1192212"/>
                  <a:gd name="connsiteX10" fmla="*/ 655637 w 1100137"/>
                  <a:gd name="connsiteY10" fmla="*/ 958849 h 1192212"/>
                  <a:gd name="connsiteX11" fmla="*/ 655637 w 1100137"/>
                  <a:gd name="connsiteY11" fmla="*/ 942974 h 1192212"/>
                  <a:gd name="connsiteX12" fmla="*/ 655637 w 1100137"/>
                  <a:gd name="connsiteY12" fmla="*/ 927099 h 1192212"/>
                  <a:gd name="connsiteX13" fmla="*/ 655637 w 1100137"/>
                  <a:gd name="connsiteY13" fmla="*/ 920749 h 1192212"/>
                  <a:gd name="connsiteX14" fmla="*/ 655637 w 1100137"/>
                  <a:gd name="connsiteY14" fmla="*/ 911224 h 1192212"/>
                  <a:gd name="connsiteX15" fmla="*/ 655637 w 1100137"/>
                  <a:gd name="connsiteY15" fmla="*/ 900112 h 1192212"/>
                  <a:gd name="connsiteX16" fmla="*/ 655637 w 1100137"/>
                  <a:gd name="connsiteY16" fmla="*/ 890587 h 1192212"/>
                  <a:gd name="connsiteX17" fmla="*/ 655637 w 1100137"/>
                  <a:gd name="connsiteY17" fmla="*/ 884237 h 1192212"/>
                  <a:gd name="connsiteX18" fmla="*/ 655637 w 1100137"/>
                  <a:gd name="connsiteY18" fmla="*/ 868362 h 1192212"/>
                  <a:gd name="connsiteX19" fmla="*/ 655637 w 1100137"/>
                  <a:gd name="connsiteY19" fmla="*/ 819149 h 1192212"/>
                  <a:gd name="connsiteX20" fmla="*/ 655637 w 1100137"/>
                  <a:gd name="connsiteY20" fmla="*/ 796924 h 1192212"/>
                  <a:gd name="connsiteX21" fmla="*/ 655637 w 1100137"/>
                  <a:gd name="connsiteY21" fmla="*/ 787399 h 1192212"/>
                  <a:gd name="connsiteX22" fmla="*/ 655637 w 1100137"/>
                  <a:gd name="connsiteY22" fmla="*/ 765174 h 1192212"/>
                  <a:gd name="connsiteX23" fmla="*/ 655637 w 1100137"/>
                  <a:gd name="connsiteY23" fmla="*/ 715962 h 1192212"/>
                  <a:gd name="connsiteX24" fmla="*/ 655637 w 1100137"/>
                  <a:gd name="connsiteY24" fmla="*/ 693737 h 1192212"/>
                  <a:gd name="connsiteX25" fmla="*/ 655637 w 1100137"/>
                  <a:gd name="connsiteY25" fmla="*/ 685799 h 1192212"/>
                  <a:gd name="connsiteX26" fmla="*/ 655637 w 1100137"/>
                  <a:gd name="connsiteY26" fmla="*/ 661987 h 1192212"/>
                  <a:gd name="connsiteX27" fmla="*/ 655637 w 1100137"/>
                  <a:gd name="connsiteY27" fmla="*/ 612774 h 1192212"/>
                  <a:gd name="connsiteX28" fmla="*/ 655637 w 1100137"/>
                  <a:gd name="connsiteY28" fmla="*/ 590549 h 1192212"/>
                  <a:gd name="connsiteX29" fmla="*/ 655637 w 1100137"/>
                  <a:gd name="connsiteY29" fmla="*/ 582612 h 1192212"/>
                  <a:gd name="connsiteX30" fmla="*/ 655637 w 1100137"/>
                  <a:gd name="connsiteY30" fmla="*/ 560387 h 1192212"/>
                  <a:gd name="connsiteX31" fmla="*/ 655637 w 1100137"/>
                  <a:gd name="connsiteY31" fmla="*/ 509587 h 1192212"/>
                  <a:gd name="connsiteX32" fmla="*/ 655637 w 1100137"/>
                  <a:gd name="connsiteY32" fmla="*/ 487362 h 1192212"/>
                  <a:gd name="connsiteX33" fmla="*/ 655637 w 1100137"/>
                  <a:gd name="connsiteY33" fmla="*/ 479425 h 1192212"/>
                  <a:gd name="connsiteX34" fmla="*/ 655637 w 1100137"/>
                  <a:gd name="connsiteY34" fmla="*/ 457200 h 1192212"/>
                  <a:gd name="connsiteX35" fmla="*/ 655637 w 1100137"/>
                  <a:gd name="connsiteY35" fmla="*/ 407987 h 1192212"/>
                  <a:gd name="connsiteX36" fmla="*/ 655637 w 1100137"/>
                  <a:gd name="connsiteY36" fmla="*/ 384175 h 1192212"/>
                  <a:gd name="connsiteX37" fmla="*/ 655637 w 1100137"/>
                  <a:gd name="connsiteY37" fmla="*/ 376237 h 1192212"/>
                  <a:gd name="connsiteX38" fmla="*/ 655637 w 1100137"/>
                  <a:gd name="connsiteY38" fmla="*/ 354012 h 1192212"/>
                  <a:gd name="connsiteX39" fmla="*/ 655637 w 1100137"/>
                  <a:gd name="connsiteY39" fmla="*/ 304800 h 1192212"/>
                  <a:gd name="connsiteX40" fmla="*/ 655637 w 1100137"/>
                  <a:gd name="connsiteY40" fmla="*/ 282575 h 1192212"/>
                  <a:gd name="connsiteX41" fmla="*/ 655637 w 1100137"/>
                  <a:gd name="connsiteY41" fmla="*/ 280987 h 1192212"/>
                  <a:gd name="connsiteX42" fmla="*/ 539750 w 1100137"/>
                  <a:gd name="connsiteY42" fmla="*/ 280987 h 1192212"/>
                  <a:gd name="connsiteX43" fmla="*/ 490537 w 1100137"/>
                  <a:gd name="connsiteY43" fmla="*/ 280987 h 1192212"/>
                  <a:gd name="connsiteX44" fmla="*/ 474662 w 1100137"/>
                  <a:gd name="connsiteY44" fmla="*/ 280987 h 1192212"/>
                  <a:gd name="connsiteX45" fmla="*/ 458787 w 1100137"/>
                  <a:gd name="connsiteY45" fmla="*/ 280987 h 1192212"/>
                  <a:gd name="connsiteX46" fmla="*/ 444500 w 1100137"/>
                  <a:gd name="connsiteY46" fmla="*/ 280987 h 1192212"/>
                  <a:gd name="connsiteX47" fmla="*/ 428625 w 1100137"/>
                  <a:gd name="connsiteY47" fmla="*/ 280987 h 1192212"/>
                  <a:gd name="connsiteX48" fmla="*/ 414337 w 1100137"/>
                  <a:gd name="connsiteY48" fmla="*/ 280987 h 1192212"/>
                  <a:gd name="connsiteX49" fmla="*/ 398462 w 1100137"/>
                  <a:gd name="connsiteY49" fmla="*/ 280987 h 1192212"/>
                  <a:gd name="connsiteX50" fmla="*/ 382587 w 1100137"/>
                  <a:gd name="connsiteY50" fmla="*/ 280987 h 1192212"/>
                  <a:gd name="connsiteX51" fmla="*/ 325437 w 1100137"/>
                  <a:gd name="connsiteY51" fmla="*/ 280987 h 1192212"/>
                  <a:gd name="connsiteX52" fmla="*/ 284163 w 1100137"/>
                  <a:gd name="connsiteY52" fmla="*/ 280987 h 1192212"/>
                  <a:gd name="connsiteX53" fmla="*/ 268288 w 1100137"/>
                  <a:gd name="connsiteY53" fmla="*/ 280987 h 1192212"/>
                  <a:gd name="connsiteX54" fmla="*/ 252413 w 1100137"/>
                  <a:gd name="connsiteY54" fmla="*/ 280987 h 1192212"/>
                  <a:gd name="connsiteX55" fmla="*/ 238125 w 1100137"/>
                  <a:gd name="connsiteY55" fmla="*/ 280987 h 1192212"/>
                  <a:gd name="connsiteX56" fmla="*/ 222250 w 1100137"/>
                  <a:gd name="connsiteY56" fmla="*/ 280987 h 1192212"/>
                  <a:gd name="connsiteX57" fmla="*/ 206375 w 1100137"/>
                  <a:gd name="connsiteY57" fmla="*/ 280987 h 1192212"/>
                  <a:gd name="connsiteX58" fmla="*/ 238125 w 1100137"/>
                  <a:gd name="connsiteY58" fmla="*/ 155575 h 1192212"/>
                  <a:gd name="connsiteX59" fmla="*/ 238125 w 1100137"/>
                  <a:gd name="connsiteY59" fmla="*/ 249259 h 1192212"/>
                  <a:gd name="connsiteX60" fmla="*/ 251719 w 1100137"/>
                  <a:gd name="connsiteY60" fmla="*/ 249259 h 1192212"/>
                  <a:gd name="connsiteX61" fmla="*/ 267459 w 1100137"/>
                  <a:gd name="connsiteY61" fmla="*/ 249259 h 1192212"/>
                  <a:gd name="connsiteX62" fmla="*/ 283200 w 1100137"/>
                  <a:gd name="connsiteY62" fmla="*/ 249259 h 1192212"/>
                  <a:gd name="connsiteX63" fmla="*/ 381934 w 1100137"/>
                  <a:gd name="connsiteY63" fmla="*/ 249259 h 1192212"/>
                  <a:gd name="connsiteX64" fmla="*/ 397674 w 1100137"/>
                  <a:gd name="connsiteY64" fmla="*/ 249259 h 1192212"/>
                  <a:gd name="connsiteX65" fmla="*/ 413415 w 1100137"/>
                  <a:gd name="connsiteY65" fmla="*/ 249259 h 1192212"/>
                  <a:gd name="connsiteX66" fmla="*/ 429155 w 1100137"/>
                  <a:gd name="connsiteY66" fmla="*/ 249259 h 1192212"/>
                  <a:gd name="connsiteX67" fmla="*/ 444895 w 1100137"/>
                  <a:gd name="connsiteY67" fmla="*/ 249259 h 1192212"/>
                  <a:gd name="connsiteX68" fmla="*/ 458489 w 1100137"/>
                  <a:gd name="connsiteY68" fmla="*/ 249259 h 1192212"/>
                  <a:gd name="connsiteX69" fmla="*/ 474229 w 1100137"/>
                  <a:gd name="connsiteY69" fmla="*/ 249259 h 1192212"/>
                  <a:gd name="connsiteX70" fmla="*/ 489970 w 1100137"/>
                  <a:gd name="connsiteY70" fmla="*/ 249259 h 1192212"/>
                  <a:gd name="connsiteX71" fmla="*/ 670983 w 1100137"/>
                  <a:gd name="connsiteY71" fmla="*/ 249259 h 1192212"/>
                  <a:gd name="connsiteX72" fmla="*/ 677422 w 1100137"/>
                  <a:gd name="connsiteY72" fmla="*/ 250690 h 1192212"/>
                  <a:gd name="connsiteX73" fmla="*/ 686723 w 1100137"/>
                  <a:gd name="connsiteY73" fmla="*/ 264993 h 1192212"/>
                  <a:gd name="connsiteX74" fmla="*/ 686723 w 1100137"/>
                  <a:gd name="connsiteY74" fmla="*/ 273575 h 1192212"/>
                  <a:gd name="connsiteX75" fmla="*/ 686723 w 1100137"/>
                  <a:gd name="connsiteY75" fmla="*/ 282156 h 1192212"/>
                  <a:gd name="connsiteX76" fmla="*/ 686723 w 1100137"/>
                  <a:gd name="connsiteY76" fmla="*/ 304326 h 1192212"/>
                  <a:gd name="connsiteX77" fmla="*/ 686723 w 1100137"/>
                  <a:gd name="connsiteY77" fmla="*/ 353671 h 1192212"/>
                  <a:gd name="connsiteX78" fmla="*/ 686723 w 1100137"/>
                  <a:gd name="connsiteY78" fmla="*/ 375841 h 1192212"/>
                  <a:gd name="connsiteX79" fmla="*/ 686723 w 1100137"/>
                  <a:gd name="connsiteY79" fmla="*/ 384422 h 1192212"/>
                  <a:gd name="connsiteX80" fmla="*/ 686723 w 1100137"/>
                  <a:gd name="connsiteY80" fmla="*/ 407307 h 1192212"/>
                  <a:gd name="connsiteX81" fmla="*/ 686723 w 1100137"/>
                  <a:gd name="connsiteY81" fmla="*/ 457367 h 1192212"/>
                  <a:gd name="connsiteX82" fmla="*/ 686723 w 1100137"/>
                  <a:gd name="connsiteY82" fmla="*/ 478822 h 1192212"/>
                  <a:gd name="connsiteX83" fmla="*/ 686723 w 1100137"/>
                  <a:gd name="connsiteY83" fmla="*/ 487404 h 1192212"/>
                  <a:gd name="connsiteX84" fmla="*/ 686723 w 1100137"/>
                  <a:gd name="connsiteY84" fmla="*/ 509573 h 1192212"/>
                  <a:gd name="connsiteX85" fmla="*/ 686723 w 1100137"/>
                  <a:gd name="connsiteY85" fmla="*/ 560349 h 1192212"/>
                  <a:gd name="connsiteX86" fmla="*/ 686723 w 1100137"/>
                  <a:gd name="connsiteY86" fmla="*/ 582518 h 1192212"/>
                  <a:gd name="connsiteX87" fmla="*/ 686723 w 1100137"/>
                  <a:gd name="connsiteY87" fmla="*/ 591100 h 1192212"/>
                  <a:gd name="connsiteX88" fmla="*/ 686723 w 1100137"/>
                  <a:gd name="connsiteY88" fmla="*/ 612555 h 1192212"/>
                  <a:gd name="connsiteX89" fmla="*/ 686723 w 1100137"/>
                  <a:gd name="connsiteY89" fmla="*/ 662615 h 1192212"/>
                  <a:gd name="connsiteX90" fmla="*/ 686723 w 1100137"/>
                  <a:gd name="connsiteY90" fmla="*/ 685500 h 1192212"/>
                  <a:gd name="connsiteX91" fmla="*/ 686723 w 1100137"/>
                  <a:gd name="connsiteY91" fmla="*/ 694081 h 1192212"/>
                  <a:gd name="connsiteX92" fmla="*/ 686723 w 1100137"/>
                  <a:gd name="connsiteY92" fmla="*/ 716251 h 1192212"/>
                  <a:gd name="connsiteX93" fmla="*/ 686723 w 1100137"/>
                  <a:gd name="connsiteY93" fmla="*/ 765596 h 1192212"/>
                  <a:gd name="connsiteX94" fmla="*/ 686723 w 1100137"/>
                  <a:gd name="connsiteY94" fmla="*/ 787766 h 1192212"/>
                  <a:gd name="connsiteX95" fmla="*/ 686723 w 1100137"/>
                  <a:gd name="connsiteY95" fmla="*/ 796348 h 1192212"/>
                  <a:gd name="connsiteX96" fmla="*/ 686723 w 1100137"/>
                  <a:gd name="connsiteY96" fmla="*/ 819232 h 1192212"/>
                  <a:gd name="connsiteX97" fmla="*/ 686723 w 1100137"/>
                  <a:gd name="connsiteY97" fmla="*/ 868577 h 1192212"/>
                  <a:gd name="connsiteX98" fmla="*/ 686723 w 1100137"/>
                  <a:gd name="connsiteY98" fmla="*/ 884311 h 1192212"/>
                  <a:gd name="connsiteX99" fmla="*/ 686723 w 1100137"/>
                  <a:gd name="connsiteY99" fmla="*/ 890747 h 1192212"/>
                  <a:gd name="connsiteX100" fmla="*/ 686723 w 1100137"/>
                  <a:gd name="connsiteY100" fmla="*/ 900044 h 1192212"/>
                  <a:gd name="connsiteX101" fmla="*/ 686723 w 1100137"/>
                  <a:gd name="connsiteY101" fmla="*/ 911486 h 1192212"/>
                  <a:gd name="connsiteX102" fmla="*/ 686723 w 1100137"/>
                  <a:gd name="connsiteY102" fmla="*/ 921498 h 1192212"/>
                  <a:gd name="connsiteX103" fmla="*/ 686723 w 1100137"/>
                  <a:gd name="connsiteY103" fmla="*/ 927220 h 1192212"/>
                  <a:gd name="connsiteX104" fmla="*/ 686723 w 1100137"/>
                  <a:gd name="connsiteY104" fmla="*/ 942953 h 1192212"/>
                  <a:gd name="connsiteX105" fmla="*/ 686723 w 1100137"/>
                  <a:gd name="connsiteY105" fmla="*/ 958686 h 1192212"/>
                  <a:gd name="connsiteX106" fmla="*/ 686723 w 1100137"/>
                  <a:gd name="connsiteY106" fmla="*/ 974419 h 1192212"/>
                  <a:gd name="connsiteX107" fmla="*/ 686723 w 1100137"/>
                  <a:gd name="connsiteY107" fmla="*/ 1009462 h 1192212"/>
                  <a:gd name="connsiteX108" fmla="*/ 686723 w 1100137"/>
                  <a:gd name="connsiteY108" fmla="*/ 1025195 h 1192212"/>
                  <a:gd name="connsiteX109" fmla="*/ 686723 w 1100137"/>
                  <a:gd name="connsiteY109" fmla="*/ 1036637 h 1192212"/>
                  <a:gd name="connsiteX110" fmla="*/ 862012 w 1100137"/>
                  <a:gd name="connsiteY110" fmla="*/ 1036637 h 1192212"/>
                  <a:gd name="connsiteX111" fmla="*/ 862012 w 1100137"/>
                  <a:gd name="connsiteY111" fmla="*/ 974419 h 1192212"/>
                  <a:gd name="connsiteX112" fmla="*/ 862012 w 1100137"/>
                  <a:gd name="connsiteY112" fmla="*/ 958686 h 1192212"/>
                  <a:gd name="connsiteX113" fmla="*/ 862012 w 1100137"/>
                  <a:gd name="connsiteY113" fmla="*/ 942953 h 1192212"/>
                  <a:gd name="connsiteX114" fmla="*/ 862012 w 1100137"/>
                  <a:gd name="connsiteY114" fmla="*/ 927220 h 1192212"/>
                  <a:gd name="connsiteX115" fmla="*/ 862012 w 1100137"/>
                  <a:gd name="connsiteY115" fmla="*/ 911486 h 1192212"/>
                  <a:gd name="connsiteX116" fmla="*/ 862012 w 1100137"/>
                  <a:gd name="connsiteY116" fmla="*/ 900044 h 1192212"/>
                  <a:gd name="connsiteX117" fmla="*/ 862012 w 1100137"/>
                  <a:gd name="connsiteY117" fmla="*/ 884311 h 1192212"/>
                  <a:gd name="connsiteX118" fmla="*/ 862012 w 1100137"/>
                  <a:gd name="connsiteY118" fmla="*/ 868577 h 1192212"/>
                  <a:gd name="connsiteX119" fmla="*/ 862012 w 1100137"/>
                  <a:gd name="connsiteY119" fmla="*/ 796348 h 1192212"/>
                  <a:gd name="connsiteX120" fmla="*/ 862012 w 1100137"/>
                  <a:gd name="connsiteY120" fmla="*/ 765596 h 1192212"/>
                  <a:gd name="connsiteX121" fmla="*/ 862012 w 1100137"/>
                  <a:gd name="connsiteY121" fmla="*/ 694081 h 1192212"/>
                  <a:gd name="connsiteX122" fmla="*/ 862012 w 1100137"/>
                  <a:gd name="connsiteY122" fmla="*/ 662615 h 1192212"/>
                  <a:gd name="connsiteX123" fmla="*/ 862012 w 1100137"/>
                  <a:gd name="connsiteY123" fmla="*/ 591100 h 1192212"/>
                  <a:gd name="connsiteX124" fmla="*/ 862012 w 1100137"/>
                  <a:gd name="connsiteY124" fmla="*/ 560349 h 1192212"/>
                  <a:gd name="connsiteX125" fmla="*/ 862012 w 1100137"/>
                  <a:gd name="connsiteY125" fmla="*/ 487404 h 1192212"/>
                  <a:gd name="connsiteX126" fmla="*/ 862012 w 1100137"/>
                  <a:gd name="connsiteY126" fmla="*/ 457367 h 1192212"/>
                  <a:gd name="connsiteX127" fmla="*/ 862012 w 1100137"/>
                  <a:gd name="connsiteY127" fmla="*/ 384422 h 1192212"/>
                  <a:gd name="connsiteX128" fmla="*/ 862012 w 1100137"/>
                  <a:gd name="connsiteY128" fmla="*/ 353671 h 1192212"/>
                  <a:gd name="connsiteX129" fmla="*/ 862012 w 1100137"/>
                  <a:gd name="connsiteY129" fmla="*/ 282156 h 1192212"/>
                  <a:gd name="connsiteX130" fmla="*/ 862012 w 1100137"/>
                  <a:gd name="connsiteY130" fmla="*/ 250690 h 1192212"/>
                  <a:gd name="connsiteX131" fmla="*/ 862012 w 1100137"/>
                  <a:gd name="connsiteY131" fmla="*/ 179175 h 1192212"/>
                  <a:gd name="connsiteX132" fmla="*/ 862012 w 1100137"/>
                  <a:gd name="connsiteY132" fmla="*/ 155575 h 1192212"/>
                  <a:gd name="connsiteX133" fmla="*/ 532182 w 1100137"/>
                  <a:gd name="connsiteY133" fmla="*/ 155575 h 1192212"/>
                  <a:gd name="connsiteX134" fmla="*/ 489970 w 1100137"/>
                  <a:gd name="connsiteY134" fmla="*/ 155575 h 1192212"/>
                  <a:gd name="connsiteX135" fmla="*/ 474229 w 1100137"/>
                  <a:gd name="connsiteY135" fmla="*/ 155575 h 1192212"/>
                  <a:gd name="connsiteX136" fmla="*/ 458489 w 1100137"/>
                  <a:gd name="connsiteY136" fmla="*/ 155575 h 1192212"/>
                  <a:gd name="connsiteX137" fmla="*/ 444895 w 1100137"/>
                  <a:gd name="connsiteY137" fmla="*/ 155575 h 1192212"/>
                  <a:gd name="connsiteX138" fmla="*/ 429155 w 1100137"/>
                  <a:gd name="connsiteY138" fmla="*/ 155575 h 1192212"/>
                  <a:gd name="connsiteX139" fmla="*/ 413415 w 1100137"/>
                  <a:gd name="connsiteY139" fmla="*/ 155575 h 1192212"/>
                  <a:gd name="connsiteX140" fmla="*/ 397674 w 1100137"/>
                  <a:gd name="connsiteY140" fmla="*/ 155575 h 1192212"/>
                  <a:gd name="connsiteX141" fmla="*/ 381934 w 1100137"/>
                  <a:gd name="connsiteY141" fmla="*/ 155575 h 1192212"/>
                  <a:gd name="connsiteX142" fmla="*/ 238125 w 1100137"/>
                  <a:gd name="connsiteY142" fmla="*/ 155575 h 1192212"/>
                  <a:gd name="connsiteX143" fmla="*/ 444500 w 1100137"/>
                  <a:gd name="connsiteY143" fmla="*/ 31750 h 1192212"/>
                  <a:gd name="connsiteX144" fmla="*/ 444500 w 1100137"/>
                  <a:gd name="connsiteY144" fmla="*/ 125266 h 1192212"/>
                  <a:gd name="connsiteX145" fmla="*/ 458079 w 1100137"/>
                  <a:gd name="connsiteY145" fmla="*/ 125266 h 1192212"/>
                  <a:gd name="connsiteX146" fmla="*/ 473801 w 1100137"/>
                  <a:gd name="connsiteY146" fmla="*/ 125266 h 1192212"/>
                  <a:gd name="connsiteX147" fmla="*/ 489523 w 1100137"/>
                  <a:gd name="connsiteY147" fmla="*/ 125266 h 1192212"/>
                  <a:gd name="connsiteX148" fmla="*/ 876862 w 1100137"/>
                  <a:gd name="connsiteY148" fmla="*/ 125266 h 1192212"/>
                  <a:gd name="connsiteX149" fmla="*/ 879006 w 1100137"/>
                  <a:gd name="connsiteY149" fmla="*/ 125266 h 1192212"/>
                  <a:gd name="connsiteX150" fmla="*/ 892584 w 1100137"/>
                  <a:gd name="connsiteY150" fmla="*/ 140971 h 1192212"/>
                  <a:gd name="connsiteX151" fmla="*/ 892584 w 1100137"/>
                  <a:gd name="connsiteY151" fmla="*/ 149537 h 1192212"/>
                  <a:gd name="connsiteX152" fmla="*/ 892584 w 1100137"/>
                  <a:gd name="connsiteY152" fmla="*/ 180233 h 1192212"/>
                  <a:gd name="connsiteX153" fmla="*/ 892584 w 1100137"/>
                  <a:gd name="connsiteY153" fmla="*/ 251619 h 1192212"/>
                  <a:gd name="connsiteX154" fmla="*/ 892584 w 1100137"/>
                  <a:gd name="connsiteY154" fmla="*/ 283029 h 1192212"/>
                  <a:gd name="connsiteX155" fmla="*/ 892584 w 1100137"/>
                  <a:gd name="connsiteY155" fmla="*/ 354415 h 1192212"/>
                  <a:gd name="connsiteX156" fmla="*/ 892584 w 1100137"/>
                  <a:gd name="connsiteY156" fmla="*/ 385111 h 1192212"/>
                  <a:gd name="connsiteX157" fmla="*/ 892584 w 1100137"/>
                  <a:gd name="connsiteY157" fmla="*/ 457924 h 1192212"/>
                  <a:gd name="connsiteX158" fmla="*/ 892584 w 1100137"/>
                  <a:gd name="connsiteY158" fmla="*/ 487906 h 1192212"/>
                  <a:gd name="connsiteX159" fmla="*/ 892584 w 1100137"/>
                  <a:gd name="connsiteY159" fmla="*/ 560720 h 1192212"/>
                  <a:gd name="connsiteX160" fmla="*/ 892584 w 1100137"/>
                  <a:gd name="connsiteY160" fmla="*/ 591416 h 1192212"/>
                  <a:gd name="connsiteX161" fmla="*/ 892584 w 1100137"/>
                  <a:gd name="connsiteY161" fmla="*/ 662802 h 1192212"/>
                  <a:gd name="connsiteX162" fmla="*/ 892584 w 1100137"/>
                  <a:gd name="connsiteY162" fmla="*/ 694212 h 1192212"/>
                  <a:gd name="connsiteX163" fmla="*/ 892584 w 1100137"/>
                  <a:gd name="connsiteY163" fmla="*/ 765598 h 1192212"/>
                  <a:gd name="connsiteX164" fmla="*/ 892584 w 1100137"/>
                  <a:gd name="connsiteY164" fmla="*/ 796294 h 1192212"/>
                  <a:gd name="connsiteX165" fmla="*/ 892584 w 1100137"/>
                  <a:gd name="connsiteY165" fmla="*/ 884098 h 1192212"/>
                  <a:gd name="connsiteX166" fmla="*/ 892584 w 1100137"/>
                  <a:gd name="connsiteY166" fmla="*/ 899803 h 1192212"/>
                  <a:gd name="connsiteX167" fmla="*/ 892584 w 1100137"/>
                  <a:gd name="connsiteY167" fmla="*/ 911225 h 1192212"/>
                  <a:gd name="connsiteX168" fmla="*/ 1068387 w 1100137"/>
                  <a:gd name="connsiteY168" fmla="*/ 911225 h 1192212"/>
                  <a:gd name="connsiteX169" fmla="*/ 1068387 w 1100137"/>
                  <a:gd name="connsiteY169" fmla="*/ 31750 h 1192212"/>
                  <a:gd name="connsiteX170" fmla="*/ 444500 w 1100137"/>
                  <a:gd name="connsiteY170" fmla="*/ 31750 h 1192212"/>
                  <a:gd name="connsiteX171" fmla="*/ 427911 w 1100137"/>
                  <a:gd name="connsiteY171" fmla="*/ 0 h 1192212"/>
                  <a:gd name="connsiteX172" fmla="*/ 429339 w 1100137"/>
                  <a:gd name="connsiteY172" fmla="*/ 0 h 1192212"/>
                  <a:gd name="connsiteX173" fmla="*/ 1084421 w 1100137"/>
                  <a:gd name="connsiteY173" fmla="*/ 0 h 1192212"/>
                  <a:gd name="connsiteX174" fmla="*/ 1086564 w 1100137"/>
                  <a:gd name="connsiteY174" fmla="*/ 0 h 1192212"/>
                  <a:gd name="connsiteX175" fmla="*/ 1100137 w 1100137"/>
                  <a:gd name="connsiteY175" fmla="*/ 15706 h 1192212"/>
                  <a:gd name="connsiteX176" fmla="*/ 1100137 w 1100137"/>
                  <a:gd name="connsiteY176" fmla="*/ 926642 h 1192212"/>
                  <a:gd name="connsiteX177" fmla="*/ 1084421 w 1100137"/>
                  <a:gd name="connsiteY177" fmla="*/ 942347 h 1192212"/>
                  <a:gd name="connsiteX178" fmla="*/ 892969 w 1100137"/>
                  <a:gd name="connsiteY178" fmla="*/ 942347 h 1192212"/>
                  <a:gd name="connsiteX179" fmla="*/ 892969 w 1100137"/>
                  <a:gd name="connsiteY179" fmla="*/ 958053 h 1192212"/>
                  <a:gd name="connsiteX180" fmla="*/ 892969 w 1100137"/>
                  <a:gd name="connsiteY180" fmla="*/ 973759 h 1192212"/>
                  <a:gd name="connsiteX181" fmla="*/ 892969 w 1100137"/>
                  <a:gd name="connsiteY181" fmla="*/ 1051574 h 1192212"/>
                  <a:gd name="connsiteX182" fmla="*/ 877252 w 1100137"/>
                  <a:gd name="connsiteY182" fmla="*/ 1067280 h 1192212"/>
                  <a:gd name="connsiteX183" fmla="*/ 686514 w 1100137"/>
                  <a:gd name="connsiteY183" fmla="*/ 1067280 h 1192212"/>
                  <a:gd name="connsiteX184" fmla="*/ 686514 w 1100137"/>
                  <a:gd name="connsiteY184" fmla="*/ 1176506 h 1192212"/>
                  <a:gd name="connsiteX185" fmla="*/ 670798 w 1100137"/>
                  <a:gd name="connsiteY185" fmla="*/ 1192212 h 1192212"/>
                  <a:gd name="connsiteX186" fmla="*/ 15716 w 1100137"/>
                  <a:gd name="connsiteY186" fmla="*/ 1192212 h 1192212"/>
                  <a:gd name="connsiteX187" fmla="*/ 0 w 1100137"/>
                  <a:gd name="connsiteY187" fmla="*/ 1176506 h 1192212"/>
                  <a:gd name="connsiteX188" fmla="*/ 0 w 1100137"/>
                  <a:gd name="connsiteY188" fmla="*/ 265571 h 1192212"/>
                  <a:gd name="connsiteX189" fmla="*/ 15716 w 1100137"/>
                  <a:gd name="connsiteY189" fmla="*/ 249865 h 1192212"/>
                  <a:gd name="connsiteX190" fmla="*/ 207169 w 1100137"/>
                  <a:gd name="connsiteY190" fmla="*/ 249865 h 1192212"/>
                  <a:gd name="connsiteX191" fmla="*/ 207169 w 1100137"/>
                  <a:gd name="connsiteY191" fmla="*/ 140638 h 1192212"/>
                  <a:gd name="connsiteX192" fmla="*/ 222885 w 1100137"/>
                  <a:gd name="connsiteY192" fmla="*/ 124933 h 1192212"/>
                  <a:gd name="connsiteX193" fmla="*/ 382191 w 1100137"/>
                  <a:gd name="connsiteY193" fmla="*/ 124933 h 1192212"/>
                  <a:gd name="connsiteX194" fmla="*/ 397907 w 1100137"/>
                  <a:gd name="connsiteY194" fmla="*/ 124933 h 1192212"/>
                  <a:gd name="connsiteX195" fmla="*/ 413623 w 1100137"/>
                  <a:gd name="connsiteY195" fmla="*/ 124933 h 1192212"/>
                  <a:gd name="connsiteX196" fmla="*/ 413623 w 1100137"/>
                  <a:gd name="connsiteY196" fmla="*/ 15706 h 1192212"/>
                  <a:gd name="connsiteX197" fmla="*/ 427911 w 1100137"/>
                  <a:gd name="connsiteY197"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100137" h="1192212">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3" name="Freeform 92"/>
              <p:cNvSpPr>
                <a:spLocks/>
              </p:cNvSpPr>
              <p:nvPr/>
            </p:nvSpPr>
            <p:spPr bwMode="auto">
              <a:xfrm>
                <a:off x="5661025" y="3036888"/>
                <a:ext cx="869950" cy="896937"/>
              </a:xfrm>
              <a:custGeom>
                <a:avLst/>
                <a:gdLst>
                  <a:gd name="connsiteX0" fmla="*/ 15044 w 869950"/>
                  <a:gd name="connsiteY0" fmla="*/ 866775 h 896937"/>
                  <a:gd name="connsiteX1" fmla="*/ 90979 w 869950"/>
                  <a:gd name="connsiteY1" fmla="*/ 866775 h 896937"/>
                  <a:gd name="connsiteX2" fmla="*/ 106740 w 869950"/>
                  <a:gd name="connsiteY2" fmla="*/ 866775 h 896937"/>
                  <a:gd name="connsiteX3" fmla="*/ 122500 w 869950"/>
                  <a:gd name="connsiteY3" fmla="*/ 866775 h 896937"/>
                  <a:gd name="connsiteX4" fmla="*/ 136111 w 869950"/>
                  <a:gd name="connsiteY4" fmla="*/ 866775 h 896937"/>
                  <a:gd name="connsiteX5" fmla="*/ 440568 w 869950"/>
                  <a:gd name="connsiteY5" fmla="*/ 866775 h 896937"/>
                  <a:gd name="connsiteX6" fmla="*/ 454179 w 869950"/>
                  <a:gd name="connsiteY6" fmla="*/ 875894 h 896937"/>
                  <a:gd name="connsiteX7" fmla="*/ 455612 w 869950"/>
                  <a:gd name="connsiteY7" fmla="*/ 882207 h 896937"/>
                  <a:gd name="connsiteX8" fmla="*/ 455612 w 869950"/>
                  <a:gd name="connsiteY8" fmla="*/ 883610 h 896937"/>
                  <a:gd name="connsiteX9" fmla="*/ 454896 w 869950"/>
                  <a:gd name="connsiteY9" fmla="*/ 887117 h 896937"/>
                  <a:gd name="connsiteX10" fmla="*/ 445583 w 869950"/>
                  <a:gd name="connsiteY10" fmla="*/ 896236 h 896937"/>
                  <a:gd name="connsiteX11" fmla="*/ 444150 w 869950"/>
                  <a:gd name="connsiteY11" fmla="*/ 896937 h 896937"/>
                  <a:gd name="connsiteX12" fmla="*/ 443434 w 869950"/>
                  <a:gd name="connsiteY12" fmla="*/ 896937 h 896937"/>
                  <a:gd name="connsiteX13" fmla="*/ 440568 w 869950"/>
                  <a:gd name="connsiteY13" fmla="*/ 896937 h 896937"/>
                  <a:gd name="connsiteX14" fmla="*/ 106740 w 869950"/>
                  <a:gd name="connsiteY14" fmla="*/ 896937 h 896937"/>
                  <a:gd name="connsiteX15" fmla="*/ 90979 w 869950"/>
                  <a:gd name="connsiteY15" fmla="*/ 896937 h 896937"/>
                  <a:gd name="connsiteX16" fmla="*/ 15044 w 869950"/>
                  <a:gd name="connsiteY16" fmla="*/ 896937 h 896937"/>
                  <a:gd name="connsiteX17" fmla="*/ 14328 w 869950"/>
                  <a:gd name="connsiteY17" fmla="*/ 896937 h 896937"/>
                  <a:gd name="connsiteX18" fmla="*/ 0 w 869950"/>
                  <a:gd name="connsiteY18" fmla="*/ 882207 h 896937"/>
                  <a:gd name="connsiteX19" fmla="*/ 15044 w 869950"/>
                  <a:gd name="connsiteY19" fmla="*/ 866775 h 896937"/>
                  <a:gd name="connsiteX20" fmla="*/ 15044 w 869950"/>
                  <a:gd name="connsiteY20" fmla="*/ 763587 h 896937"/>
                  <a:gd name="connsiteX21" fmla="*/ 90979 w 869950"/>
                  <a:gd name="connsiteY21" fmla="*/ 763587 h 896937"/>
                  <a:gd name="connsiteX22" fmla="*/ 106740 w 869950"/>
                  <a:gd name="connsiteY22" fmla="*/ 763587 h 896937"/>
                  <a:gd name="connsiteX23" fmla="*/ 122500 w 869950"/>
                  <a:gd name="connsiteY23" fmla="*/ 763587 h 896937"/>
                  <a:gd name="connsiteX24" fmla="*/ 136111 w 869950"/>
                  <a:gd name="connsiteY24" fmla="*/ 763587 h 896937"/>
                  <a:gd name="connsiteX25" fmla="*/ 151871 w 869950"/>
                  <a:gd name="connsiteY25" fmla="*/ 763587 h 896937"/>
                  <a:gd name="connsiteX26" fmla="*/ 167631 w 869950"/>
                  <a:gd name="connsiteY26" fmla="*/ 763587 h 896937"/>
                  <a:gd name="connsiteX27" fmla="*/ 209181 w 869950"/>
                  <a:gd name="connsiteY27" fmla="*/ 763587 h 896937"/>
                  <a:gd name="connsiteX28" fmla="*/ 266490 w 869950"/>
                  <a:gd name="connsiteY28" fmla="*/ 763587 h 896937"/>
                  <a:gd name="connsiteX29" fmla="*/ 282250 w 869950"/>
                  <a:gd name="connsiteY29" fmla="*/ 763587 h 896937"/>
                  <a:gd name="connsiteX30" fmla="*/ 298011 w 869950"/>
                  <a:gd name="connsiteY30" fmla="*/ 763587 h 896937"/>
                  <a:gd name="connsiteX31" fmla="*/ 313771 w 869950"/>
                  <a:gd name="connsiteY31" fmla="*/ 763587 h 896937"/>
                  <a:gd name="connsiteX32" fmla="*/ 440568 w 869950"/>
                  <a:gd name="connsiteY32" fmla="*/ 763587 h 896937"/>
                  <a:gd name="connsiteX33" fmla="*/ 450598 w 869950"/>
                  <a:gd name="connsiteY33" fmla="*/ 767917 h 896937"/>
                  <a:gd name="connsiteX34" fmla="*/ 452030 w 869950"/>
                  <a:gd name="connsiteY34" fmla="*/ 769360 h 896937"/>
                  <a:gd name="connsiteX35" fmla="*/ 454179 w 869950"/>
                  <a:gd name="connsiteY35" fmla="*/ 772246 h 896937"/>
                  <a:gd name="connsiteX36" fmla="*/ 455612 w 869950"/>
                  <a:gd name="connsiteY36" fmla="*/ 778019 h 896937"/>
                  <a:gd name="connsiteX37" fmla="*/ 455612 w 869950"/>
                  <a:gd name="connsiteY37" fmla="*/ 779462 h 896937"/>
                  <a:gd name="connsiteX38" fmla="*/ 455612 w 869950"/>
                  <a:gd name="connsiteY38" fmla="*/ 782348 h 896937"/>
                  <a:gd name="connsiteX39" fmla="*/ 454896 w 869950"/>
                  <a:gd name="connsiteY39" fmla="*/ 783792 h 896937"/>
                  <a:gd name="connsiteX40" fmla="*/ 454896 w 869950"/>
                  <a:gd name="connsiteY40" fmla="*/ 784513 h 896937"/>
                  <a:gd name="connsiteX41" fmla="*/ 447732 w 869950"/>
                  <a:gd name="connsiteY41" fmla="*/ 793894 h 896937"/>
                  <a:gd name="connsiteX42" fmla="*/ 445583 w 869950"/>
                  <a:gd name="connsiteY42" fmla="*/ 794616 h 896937"/>
                  <a:gd name="connsiteX43" fmla="*/ 444867 w 869950"/>
                  <a:gd name="connsiteY43" fmla="*/ 794616 h 896937"/>
                  <a:gd name="connsiteX44" fmla="*/ 443434 w 869950"/>
                  <a:gd name="connsiteY44" fmla="*/ 795337 h 896937"/>
                  <a:gd name="connsiteX45" fmla="*/ 440568 w 869950"/>
                  <a:gd name="connsiteY45" fmla="*/ 795337 h 896937"/>
                  <a:gd name="connsiteX46" fmla="*/ 287981 w 869950"/>
                  <a:gd name="connsiteY46" fmla="*/ 795337 h 896937"/>
                  <a:gd name="connsiteX47" fmla="*/ 270072 w 869950"/>
                  <a:gd name="connsiteY47" fmla="*/ 795337 h 896937"/>
                  <a:gd name="connsiteX48" fmla="*/ 167631 w 869950"/>
                  <a:gd name="connsiteY48" fmla="*/ 795337 h 896937"/>
                  <a:gd name="connsiteX49" fmla="*/ 151871 w 869950"/>
                  <a:gd name="connsiteY49" fmla="*/ 795337 h 896937"/>
                  <a:gd name="connsiteX50" fmla="*/ 136111 w 869950"/>
                  <a:gd name="connsiteY50" fmla="*/ 795337 h 896937"/>
                  <a:gd name="connsiteX51" fmla="*/ 122500 w 869950"/>
                  <a:gd name="connsiteY51" fmla="*/ 795337 h 896937"/>
                  <a:gd name="connsiteX52" fmla="*/ 106740 w 869950"/>
                  <a:gd name="connsiteY52" fmla="*/ 795337 h 896937"/>
                  <a:gd name="connsiteX53" fmla="*/ 90979 w 869950"/>
                  <a:gd name="connsiteY53" fmla="*/ 795337 h 896937"/>
                  <a:gd name="connsiteX54" fmla="*/ 15044 w 869950"/>
                  <a:gd name="connsiteY54" fmla="*/ 795337 h 896937"/>
                  <a:gd name="connsiteX55" fmla="*/ 0 w 869950"/>
                  <a:gd name="connsiteY55" fmla="*/ 779462 h 896937"/>
                  <a:gd name="connsiteX56" fmla="*/ 15044 w 869950"/>
                  <a:gd name="connsiteY56" fmla="*/ 763587 h 896937"/>
                  <a:gd name="connsiteX57" fmla="*/ 601663 w 869950"/>
                  <a:gd name="connsiteY57" fmla="*/ 741362 h 896937"/>
                  <a:gd name="connsiteX58" fmla="*/ 646907 w 869950"/>
                  <a:gd name="connsiteY58" fmla="*/ 741362 h 896937"/>
                  <a:gd name="connsiteX59" fmla="*/ 660552 w 869950"/>
                  <a:gd name="connsiteY59" fmla="*/ 750481 h 896937"/>
                  <a:gd name="connsiteX60" fmla="*/ 661988 w 869950"/>
                  <a:gd name="connsiteY60" fmla="*/ 756794 h 896937"/>
                  <a:gd name="connsiteX61" fmla="*/ 661270 w 869950"/>
                  <a:gd name="connsiteY61" fmla="*/ 761704 h 896937"/>
                  <a:gd name="connsiteX62" fmla="*/ 646907 w 869950"/>
                  <a:gd name="connsiteY62" fmla="*/ 771524 h 896937"/>
                  <a:gd name="connsiteX63" fmla="*/ 601663 w 869950"/>
                  <a:gd name="connsiteY63" fmla="*/ 771524 h 896937"/>
                  <a:gd name="connsiteX64" fmla="*/ 601663 w 869950"/>
                  <a:gd name="connsiteY64" fmla="*/ 761704 h 896937"/>
                  <a:gd name="connsiteX65" fmla="*/ 601663 w 869950"/>
                  <a:gd name="connsiteY65" fmla="*/ 750481 h 896937"/>
                  <a:gd name="connsiteX66" fmla="*/ 601663 w 869950"/>
                  <a:gd name="connsiteY66" fmla="*/ 741362 h 896937"/>
                  <a:gd name="connsiteX67" fmla="*/ 15044 w 869950"/>
                  <a:gd name="connsiteY67" fmla="*/ 661987 h 896937"/>
                  <a:gd name="connsiteX68" fmla="*/ 90979 w 869950"/>
                  <a:gd name="connsiteY68" fmla="*/ 661987 h 896937"/>
                  <a:gd name="connsiteX69" fmla="*/ 106740 w 869950"/>
                  <a:gd name="connsiteY69" fmla="*/ 661987 h 896937"/>
                  <a:gd name="connsiteX70" fmla="*/ 122500 w 869950"/>
                  <a:gd name="connsiteY70" fmla="*/ 661987 h 896937"/>
                  <a:gd name="connsiteX71" fmla="*/ 136111 w 869950"/>
                  <a:gd name="connsiteY71" fmla="*/ 661987 h 896937"/>
                  <a:gd name="connsiteX72" fmla="*/ 151871 w 869950"/>
                  <a:gd name="connsiteY72" fmla="*/ 661987 h 896937"/>
                  <a:gd name="connsiteX73" fmla="*/ 167631 w 869950"/>
                  <a:gd name="connsiteY73" fmla="*/ 661987 h 896937"/>
                  <a:gd name="connsiteX74" fmla="*/ 209181 w 869950"/>
                  <a:gd name="connsiteY74" fmla="*/ 661987 h 896937"/>
                  <a:gd name="connsiteX75" fmla="*/ 266490 w 869950"/>
                  <a:gd name="connsiteY75" fmla="*/ 661987 h 896937"/>
                  <a:gd name="connsiteX76" fmla="*/ 282250 w 869950"/>
                  <a:gd name="connsiteY76" fmla="*/ 661987 h 896937"/>
                  <a:gd name="connsiteX77" fmla="*/ 298011 w 869950"/>
                  <a:gd name="connsiteY77" fmla="*/ 661987 h 896937"/>
                  <a:gd name="connsiteX78" fmla="*/ 313771 w 869950"/>
                  <a:gd name="connsiteY78" fmla="*/ 661987 h 896937"/>
                  <a:gd name="connsiteX79" fmla="*/ 329531 w 869950"/>
                  <a:gd name="connsiteY79" fmla="*/ 661987 h 896937"/>
                  <a:gd name="connsiteX80" fmla="*/ 343142 w 869950"/>
                  <a:gd name="connsiteY80" fmla="*/ 661987 h 896937"/>
                  <a:gd name="connsiteX81" fmla="*/ 358902 w 869950"/>
                  <a:gd name="connsiteY81" fmla="*/ 661987 h 896937"/>
                  <a:gd name="connsiteX82" fmla="*/ 374662 w 869950"/>
                  <a:gd name="connsiteY82" fmla="*/ 661987 h 896937"/>
                  <a:gd name="connsiteX83" fmla="*/ 440568 w 869950"/>
                  <a:gd name="connsiteY83" fmla="*/ 661987 h 896937"/>
                  <a:gd name="connsiteX84" fmla="*/ 454179 w 869950"/>
                  <a:gd name="connsiteY84" fmla="*/ 670404 h 896937"/>
                  <a:gd name="connsiteX85" fmla="*/ 455612 w 869950"/>
                  <a:gd name="connsiteY85" fmla="*/ 677419 h 896937"/>
                  <a:gd name="connsiteX86" fmla="*/ 440568 w 869950"/>
                  <a:gd name="connsiteY86" fmla="*/ 692149 h 896937"/>
                  <a:gd name="connsiteX87" fmla="*/ 374662 w 869950"/>
                  <a:gd name="connsiteY87" fmla="*/ 692149 h 896937"/>
                  <a:gd name="connsiteX88" fmla="*/ 358902 w 869950"/>
                  <a:gd name="connsiteY88" fmla="*/ 692149 h 896937"/>
                  <a:gd name="connsiteX89" fmla="*/ 343142 w 869950"/>
                  <a:gd name="connsiteY89" fmla="*/ 692149 h 896937"/>
                  <a:gd name="connsiteX90" fmla="*/ 329531 w 869950"/>
                  <a:gd name="connsiteY90" fmla="*/ 692149 h 896937"/>
                  <a:gd name="connsiteX91" fmla="*/ 313771 w 869950"/>
                  <a:gd name="connsiteY91" fmla="*/ 692149 h 896937"/>
                  <a:gd name="connsiteX92" fmla="*/ 298011 w 869950"/>
                  <a:gd name="connsiteY92" fmla="*/ 692149 h 896937"/>
                  <a:gd name="connsiteX93" fmla="*/ 282250 w 869950"/>
                  <a:gd name="connsiteY93" fmla="*/ 692149 h 896937"/>
                  <a:gd name="connsiteX94" fmla="*/ 266490 w 869950"/>
                  <a:gd name="connsiteY94" fmla="*/ 692149 h 896937"/>
                  <a:gd name="connsiteX95" fmla="*/ 167631 w 869950"/>
                  <a:gd name="connsiteY95" fmla="*/ 692149 h 896937"/>
                  <a:gd name="connsiteX96" fmla="*/ 151871 w 869950"/>
                  <a:gd name="connsiteY96" fmla="*/ 692149 h 896937"/>
                  <a:gd name="connsiteX97" fmla="*/ 136111 w 869950"/>
                  <a:gd name="connsiteY97" fmla="*/ 692149 h 896937"/>
                  <a:gd name="connsiteX98" fmla="*/ 122500 w 869950"/>
                  <a:gd name="connsiteY98" fmla="*/ 692149 h 896937"/>
                  <a:gd name="connsiteX99" fmla="*/ 106740 w 869950"/>
                  <a:gd name="connsiteY99" fmla="*/ 692149 h 896937"/>
                  <a:gd name="connsiteX100" fmla="*/ 90979 w 869950"/>
                  <a:gd name="connsiteY100" fmla="*/ 692149 h 896937"/>
                  <a:gd name="connsiteX101" fmla="*/ 15044 w 869950"/>
                  <a:gd name="connsiteY101" fmla="*/ 692149 h 896937"/>
                  <a:gd name="connsiteX102" fmla="*/ 0 w 869950"/>
                  <a:gd name="connsiteY102" fmla="*/ 677419 h 896937"/>
                  <a:gd name="connsiteX103" fmla="*/ 15044 w 869950"/>
                  <a:gd name="connsiteY103" fmla="*/ 661987 h 896937"/>
                  <a:gd name="connsiteX104" fmla="*/ 601663 w 869950"/>
                  <a:gd name="connsiteY104" fmla="*/ 638175 h 896937"/>
                  <a:gd name="connsiteX105" fmla="*/ 646907 w 869950"/>
                  <a:gd name="connsiteY105" fmla="*/ 638175 h 896937"/>
                  <a:gd name="connsiteX106" fmla="*/ 660552 w 869950"/>
                  <a:gd name="connsiteY106" fmla="*/ 646834 h 896937"/>
                  <a:gd name="connsiteX107" fmla="*/ 661988 w 869950"/>
                  <a:gd name="connsiteY107" fmla="*/ 654050 h 896937"/>
                  <a:gd name="connsiteX108" fmla="*/ 646907 w 869950"/>
                  <a:gd name="connsiteY108" fmla="*/ 669925 h 896937"/>
                  <a:gd name="connsiteX109" fmla="*/ 601663 w 869950"/>
                  <a:gd name="connsiteY109" fmla="*/ 669925 h 896937"/>
                  <a:gd name="connsiteX110" fmla="*/ 601663 w 869950"/>
                  <a:gd name="connsiteY110" fmla="*/ 646834 h 896937"/>
                  <a:gd name="connsiteX111" fmla="*/ 601663 w 869950"/>
                  <a:gd name="connsiteY111" fmla="*/ 638175 h 896937"/>
                  <a:gd name="connsiteX112" fmla="*/ 808038 w 869950"/>
                  <a:gd name="connsiteY112" fmla="*/ 615950 h 896937"/>
                  <a:gd name="connsiteX113" fmla="*/ 853926 w 869950"/>
                  <a:gd name="connsiteY113" fmla="*/ 615950 h 896937"/>
                  <a:gd name="connsiteX114" fmla="*/ 869950 w 869950"/>
                  <a:gd name="connsiteY114" fmla="*/ 631456 h 896937"/>
                  <a:gd name="connsiteX115" fmla="*/ 853926 w 869950"/>
                  <a:gd name="connsiteY115" fmla="*/ 647700 h 896937"/>
                  <a:gd name="connsiteX116" fmla="*/ 808038 w 869950"/>
                  <a:gd name="connsiteY116" fmla="*/ 647700 h 896937"/>
                  <a:gd name="connsiteX117" fmla="*/ 808038 w 869950"/>
                  <a:gd name="connsiteY117" fmla="*/ 615950 h 896937"/>
                  <a:gd name="connsiteX118" fmla="*/ 15044 w 869950"/>
                  <a:gd name="connsiteY118" fmla="*/ 558800 h 896937"/>
                  <a:gd name="connsiteX119" fmla="*/ 90979 w 869950"/>
                  <a:gd name="connsiteY119" fmla="*/ 558800 h 896937"/>
                  <a:gd name="connsiteX120" fmla="*/ 106740 w 869950"/>
                  <a:gd name="connsiteY120" fmla="*/ 558800 h 896937"/>
                  <a:gd name="connsiteX121" fmla="*/ 122500 w 869950"/>
                  <a:gd name="connsiteY121" fmla="*/ 558800 h 896937"/>
                  <a:gd name="connsiteX122" fmla="*/ 136111 w 869950"/>
                  <a:gd name="connsiteY122" fmla="*/ 558800 h 896937"/>
                  <a:gd name="connsiteX123" fmla="*/ 151871 w 869950"/>
                  <a:gd name="connsiteY123" fmla="*/ 558800 h 896937"/>
                  <a:gd name="connsiteX124" fmla="*/ 167631 w 869950"/>
                  <a:gd name="connsiteY124" fmla="*/ 558800 h 896937"/>
                  <a:gd name="connsiteX125" fmla="*/ 209181 w 869950"/>
                  <a:gd name="connsiteY125" fmla="*/ 558800 h 896937"/>
                  <a:gd name="connsiteX126" fmla="*/ 266490 w 869950"/>
                  <a:gd name="connsiteY126" fmla="*/ 558800 h 896937"/>
                  <a:gd name="connsiteX127" fmla="*/ 282250 w 869950"/>
                  <a:gd name="connsiteY127" fmla="*/ 558800 h 896937"/>
                  <a:gd name="connsiteX128" fmla="*/ 298011 w 869950"/>
                  <a:gd name="connsiteY128" fmla="*/ 558800 h 896937"/>
                  <a:gd name="connsiteX129" fmla="*/ 313771 w 869950"/>
                  <a:gd name="connsiteY129" fmla="*/ 558800 h 896937"/>
                  <a:gd name="connsiteX130" fmla="*/ 329531 w 869950"/>
                  <a:gd name="connsiteY130" fmla="*/ 558800 h 896937"/>
                  <a:gd name="connsiteX131" fmla="*/ 343142 w 869950"/>
                  <a:gd name="connsiteY131" fmla="*/ 558800 h 896937"/>
                  <a:gd name="connsiteX132" fmla="*/ 358902 w 869950"/>
                  <a:gd name="connsiteY132" fmla="*/ 558800 h 896937"/>
                  <a:gd name="connsiteX133" fmla="*/ 374662 w 869950"/>
                  <a:gd name="connsiteY133" fmla="*/ 558800 h 896937"/>
                  <a:gd name="connsiteX134" fmla="*/ 440568 w 869950"/>
                  <a:gd name="connsiteY134" fmla="*/ 558800 h 896937"/>
                  <a:gd name="connsiteX135" fmla="*/ 454179 w 869950"/>
                  <a:gd name="connsiteY135" fmla="*/ 567418 h 896937"/>
                  <a:gd name="connsiteX136" fmla="*/ 455612 w 869950"/>
                  <a:gd name="connsiteY136" fmla="*/ 573881 h 896937"/>
                  <a:gd name="connsiteX137" fmla="*/ 440568 w 869950"/>
                  <a:gd name="connsiteY137" fmla="*/ 588962 h 896937"/>
                  <a:gd name="connsiteX138" fmla="*/ 374662 w 869950"/>
                  <a:gd name="connsiteY138" fmla="*/ 588962 h 896937"/>
                  <a:gd name="connsiteX139" fmla="*/ 358902 w 869950"/>
                  <a:gd name="connsiteY139" fmla="*/ 588962 h 896937"/>
                  <a:gd name="connsiteX140" fmla="*/ 343142 w 869950"/>
                  <a:gd name="connsiteY140" fmla="*/ 588962 h 896937"/>
                  <a:gd name="connsiteX141" fmla="*/ 329531 w 869950"/>
                  <a:gd name="connsiteY141" fmla="*/ 588962 h 896937"/>
                  <a:gd name="connsiteX142" fmla="*/ 313771 w 869950"/>
                  <a:gd name="connsiteY142" fmla="*/ 588962 h 896937"/>
                  <a:gd name="connsiteX143" fmla="*/ 298011 w 869950"/>
                  <a:gd name="connsiteY143" fmla="*/ 588962 h 896937"/>
                  <a:gd name="connsiteX144" fmla="*/ 282250 w 869950"/>
                  <a:gd name="connsiteY144" fmla="*/ 588962 h 896937"/>
                  <a:gd name="connsiteX145" fmla="*/ 266490 w 869950"/>
                  <a:gd name="connsiteY145" fmla="*/ 588962 h 896937"/>
                  <a:gd name="connsiteX146" fmla="*/ 167631 w 869950"/>
                  <a:gd name="connsiteY146" fmla="*/ 588962 h 896937"/>
                  <a:gd name="connsiteX147" fmla="*/ 151871 w 869950"/>
                  <a:gd name="connsiteY147" fmla="*/ 588962 h 896937"/>
                  <a:gd name="connsiteX148" fmla="*/ 136111 w 869950"/>
                  <a:gd name="connsiteY148" fmla="*/ 588962 h 896937"/>
                  <a:gd name="connsiteX149" fmla="*/ 122500 w 869950"/>
                  <a:gd name="connsiteY149" fmla="*/ 588962 h 896937"/>
                  <a:gd name="connsiteX150" fmla="*/ 106740 w 869950"/>
                  <a:gd name="connsiteY150" fmla="*/ 588962 h 896937"/>
                  <a:gd name="connsiteX151" fmla="*/ 90979 w 869950"/>
                  <a:gd name="connsiteY151" fmla="*/ 588962 h 896937"/>
                  <a:gd name="connsiteX152" fmla="*/ 15044 w 869950"/>
                  <a:gd name="connsiteY152" fmla="*/ 588962 h 896937"/>
                  <a:gd name="connsiteX153" fmla="*/ 0 w 869950"/>
                  <a:gd name="connsiteY153" fmla="*/ 573881 h 896937"/>
                  <a:gd name="connsiteX154" fmla="*/ 15044 w 869950"/>
                  <a:gd name="connsiteY154" fmla="*/ 558800 h 896937"/>
                  <a:gd name="connsiteX155" fmla="*/ 601663 w 869950"/>
                  <a:gd name="connsiteY155" fmla="*/ 536575 h 896937"/>
                  <a:gd name="connsiteX156" fmla="*/ 646907 w 869950"/>
                  <a:gd name="connsiteY156" fmla="*/ 536575 h 896937"/>
                  <a:gd name="connsiteX157" fmla="*/ 660552 w 869950"/>
                  <a:gd name="connsiteY157" fmla="*/ 544992 h 896937"/>
                  <a:gd name="connsiteX158" fmla="*/ 661988 w 869950"/>
                  <a:gd name="connsiteY158" fmla="*/ 552007 h 896937"/>
                  <a:gd name="connsiteX159" fmla="*/ 646907 w 869950"/>
                  <a:gd name="connsiteY159" fmla="*/ 566737 h 896937"/>
                  <a:gd name="connsiteX160" fmla="*/ 601663 w 869950"/>
                  <a:gd name="connsiteY160" fmla="*/ 566737 h 896937"/>
                  <a:gd name="connsiteX161" fmla="*/ 601663 w 869950"/>
                  <a:gd name="connsiteY161" fmla="*/ 544992 h 896937"/>
                  <a:gd name="connsiteX162" fmla="*/ 601663 w 869950"/>
                  <a:gd name="connsiteY162" fmla="*/ 536575 h 896937"/>
                  <a:gd name="connsiteX163" fmla="*/ 808038 w 869950"/>
                  <a:gd name="connsiteY163" fmla="*/ 512762 h 896937"/>
                  <a:gd name="connsiteX164" fmla="*/ 853926 w 869950"/>
                  <a:gd name="connsiteY164" fmla="*/ 512762 h 896937"/>
                  <a:gd name="connsiteX165" fmla="*/ 869950 w 869950"/>
                  <a:gd name="connsiteY165" fmla="*/ 528637 h 896937"/>
                  <a:gd name="connsiteX166" fmla="*/ 853926 w 869950"/>
                  <a:gd name="connsiteY166" fmla="*/ 544512 h 896937"/>
                  <a:gd name="connsiteX167" fmla="*/ 808038 w 869950"/>
                  <a:gd name="connsiteY167" fmla="*/ 544512 h 896937"/>
                  <a:gd name="connsiteX168" fmla="*/ 808038 w 869950"/>
                  <a:gd name="connsiteY168" fmla="*/ 512762 h 896937"/>
                  <a:gd name="connsiteX169" fmla="*/ 15044 w 869950"/>
                  <a:gd name="connsiteY169" fmla="*/ 455612 h 896937"/>
                  <a:gd name="connsiteX170" fmla="*/ 90979 w 869950"/>
                  <a:gd name="connsiteY170" fmla="*/ 455612 h 896937"/>
                  <a:gd name="connsiteX171" fmla="*/ 106740 w 869950"/>
                  <a:gd name="connsiteY171" fmla="*/ 455612 h 896937"/>
                  <a:gd name="connsiteX172" fmla="*/ 122500 w 869950"/>
                  <a:gd name="connsiteY172" fmla="*/ 455612 h 896937"/>
                  <a:gd name="connsiteX173" fmla="*/ 136111 w 869950"/>
                  <a:gd name="connsiteY173" fmla="*/ 455612 h 896937"/>
                  <a:gd name="connsiteX174" fmla="*/ 151871 w 869950"/>
                  <a:gd name="connsiteY174" fmla="*/ 455612 h 896937"/>
                  <a:gd name="connsiteX175" fmla="*/ 167631 w 869950"/>
                  <a:gd name="connsiteY175" fmla="*/ 455612 h 896937"/>
                  <a:gd name="connsiteX176" fmla="*/ 208464 w 869950"/>
                  <a:gd name="connsiteY176" fmla="*/ 455612 h 896937"/>
                  <a:gd name="connsiteX177" fmla="*/ 266490 w 869950"/>
                  <a:gd name="connsiteY177" fmla="*/ 455612 h 896937"/>
                  <a:gd name="connsiteX178" fmla="*/ 282250 w 869950"/>
                  <a:gd name="connsiteY178" fmla="*/ 455612 h 896937"/>
                  <a:gd name="connsiteX179" fmla="*/ 298011 w 869950"/>
                  <a:gd name="connsiteY179" fmla="*/ 455612 h 896937"/>
                  <a:gd name="connsiteX180" fmla="*/ 313771 w 869950"/>
                  <a:gd name="connsiteY180" fmla="*/ 455612 h 896937"/>
                  <a:gd name="connsiteX181" fmla="*/ 329531 w 869950"/>
                  <a:gd name="connsiteY181" fmla="*/ 455612 h 896937"/>
                  <a:gd name="connsiteX182" fmla="*/ 343142 w 869950"/>
                  <a:gd name="connsiteY182" fmla="*/ 455612 h 896937"/>
                  <a:gd name="connsiteX183" fmla="*/ 358902 w 869950"/>
                  <a:gd name="connsiteY183" fmla="*/ 455612 h 896937"/>
                  <a:gd name="connsiteX184" fmla="*/ 374662 w 869950"/>
                  <a:gd name="connsiteY184" fmla="*/ 455612 h 896937"/>
                  <a:gd name="connsiteX185" fmla="*/ 440568 w 869950"/>
                  <a:gd name="connsiteY185" fmla="*/ 455612 h 896937"/>
                  <a:gd name="connsiteX186" fmla="*/ 454179 w 869950"/>
                  <a:gd name="connsiteY186" fmla="*/ 464029 h 896937"/>
                  <a:gd name="connsiteX187" fmla="*/ 455612 w 869950"/>
                  <a:gd name="connsiteY187" fmla="*/ 471044 h 896937"/>
                  <a:gd name="connsiteX188" fmla="*/ 440568 w 869950"/>
                  <a:gd name="connsiteY188" fmla="*/ 485774 h 896937"/>
                  <a:gd name="connsiteX189" fmla="*/ 374662 w 869950"/>
                  <a:gd name="connsiteY189" fmla="*/ 485774 h 896937"/>
                  <a:gd name="connsiteX190" fmla="*/ 358902 w 869950"/>
                  <a:gd name="connsiteY190" fmla="*/ 485774 h 896937"/>
                  <a:gd name="connsiteX191" fmla="*/ 343142 w 869950"/>
                  <a:gd name="connsiteY191" fmla="*/ 485774 h 896937"/>
                  <a:gd name="connsiteX192" fmla="*/ 329531 w 869950"/>
                  <a:gd name="connsiteY192" fmla="*/ 485774 h 896937"/>
                  <a:gd name="connsiteX193" fmla="*/ 313771 w 869950"/>
                  <a:gd name="connsiteY193" fmla="*/ 485774 h 896937"/>
                  <a:gd name="connsiteX194" fmla="*/ 298011 w 869950"/>
                  <a:gd name="connsiteY194" fmla="*/ 485774 h 896937"/>
                  <a:gd name="connsiteX195" fmla="*/ 282250 w 869950"/>
                  <a:gd name="connsiteY195" fmla="*/ 485774 h 896937"/>
                  <a:gd name="connsiteX196" fmla="*/ 266490 w 869950"/>
                  <a:gd name="connsiteY196" fmla="*/ 485774 h 896937"/>
                  <a:gd name="connsiteX197" fmla="*/ 167631 w 869950"/>
                  <a:gd name="connsiteY197" fmla="*/ 485774 h 896937"/>
                  <a:gd name="connsiteX198" fmla="*/ 151871 w 869950"/>
                  <a:gd name="connsiteY198" fmla="*/ 485774 h 896937"/>
                  <a:gd name="connsiteX199" fmla="*/ 136111 w 869950"/>
                  <a:gd name="connsiteY199" fmla="*/ 485774 h 896937"/>
                  <a:gd name="connsiteX200" fmla="*/ 122500 w 869950"/>
                  <a:gd name="connsiteY200" fmla="*/ 485774 h 896937"/>
                  <a:gd name="connsiteX201" fmla="*/ 106740 w 869950"/>
                  <a:gd name="connsiteY201" fmla="*/ 485774 h 896937"/>
                  <a:gd name="connsiteX202" fmla="*/ 90979 w 869950"/>
                  <a:gd name="connsiteY202" fmla="*/ 485774 h 896937"/>
                  <a:gd name="connsiteX203" fmla="*/ 15044 w 869950"/>
                  <a:gd name="connsiteY203" fmla="*/ 485774 h 896937"/>
                  <a:gd name="connsiteX204" fmla="*/ 0 w 869950"/>
                  <a:gd name="connsiteY204" fmla="*/ 471044 h 896937"/>
                  <a:gd name="connsiteX205" fmla="*/ 15044 w 869950"/>
                  <a:gd name="connsiteY205" fmla="*/ 455612 h 896937"/>
                  <a:gd name="connsiteX206" fmla="*/ 601663 w 869950"/>
                  <a:gd name="connsiteY206" fmla="*/ 433387 h 896937"/>
                  <a:gd name="connsiteX207" fmla="*/ 646907 w 869950"/>
                  <a:gd name="connsiteY207" fmla="*/ 433387 h 896937"/>
                  <a:gd name="connsiteX208" fmla="*/ 660552 w 869950"/>
                  <a:gd name="connsiteY208" fmla="*/ 442005 h 896937"/>
                  <a:gd name="connsiteX209" fmla="*/ 661988 w 869950"/>
                  <a:gd name="connsiteY209" fmla="*/ 448468 h 896937"/>
                  <a:gd name="connsiteX210" fmla="*/ 646907 w 869950"/>
                  <a:gd name="connsiteY210" fmla="*/ 463549 h 896937"/>
                  <a:gd name="connsiteX211" fmla="*/ 601663 w 869950"/>
                  <a:gd name="connsiteY211" fmla="*/ 463549 h 896937"/>
                  <a:gd name="connsiteX212" fmla="*/ 601663 w 869950"/>
                  <a:gd name="connsiteY212" fmla="*/ 442005 h 896937"/>
                  <a:gd name="connsiteX213" fmla="*/ 601663 w 869950"/>
                  <a:gd name="connsiteY213" fmla="*/ 433387 h 896937"/>
                  <a:gd name="connsiteX214" fmla="*/ 808038 w 869950"/>
                  <a:gd name="connsiteY214" fmla="*/ 411162 h 896937"/>
                  <a:gd name="connsiteX215" fmla="*/ 853926 w 869950"/>
                  <a:gd name="connsiteY215" fmla="*/ 411162 h 896937"/>
                  <a:gd name="connsiteX216" fmla="*/ 869950 w 869950"/>
                  <a:gd name="connsiteY216" fmla="*/ 425892 h 896937"/>
                  <a:gd name="connsiteX217" fmla="*/ 853926 w 869950"/>
                  <a:gd name="connsiteY217" fmla="*/ 441324 h 896937"/>
                  <a:gd name="connsiteX218" fmla="*/ 808038 w 869950"/>
                  <a:gd name="connsiteY218" fmla="*/ 441324 h 896937"/>
                  <a:gd name="connsiteX219" fmla="*/ 808038 w 869950"/>
                  <a:gd name="connsiteY219" fmla="*/ 411162 h 896937"/>
                  <a:gd name="connsiteX220" fmla="*/ 15044 w 869950"/>
                  <a:gd name="connsiteY220" fmla="*/ 352425 h 896937"/>
                  <a:gd name="connsiteX221" fmla="*/ 90979 w 869950"/>
                  <a:gd name="connsiteY221" fmla="*/ 352425 h 896937"/>
                  <a:gd name="connsiteX222" fmla="*/ 106740 w 869950"/>
                  <a:gd name="connsiteY222" fmla="*/ 352425 h 896937"/>
                  <a:gd name="connsiteX223" fmla="*/ 122500 w 869950"/>
                  <a:gd name="connsiteY223" fmla="*/ 352425 h 896937"/>
                  <a:gd name="connsiteX224" fmla="*/ 136111 w 869950"/>
                  <a:gd name="connsiteY224" fmla="*/ 352425 h 896937"/>
                  <a:gd name="connsiteX225" fmla="*/ 151871 w 869950"/>
                  <a:gd name="connsiteY225" fmla="*/ 352425 h 896937"/>
                  <a:gd name="connsiteX226" fmla="*/ 167631 w 869950"/>
                  <a:gd name="connsiteY226" fmla="*/ 352425 h 896937"/>
                  <a:gd name="connsiteX227" fmla="*/ 209181 w 869950"/>
                  <a:gd name="connsiteY227" fmla="*/ 352425 h 896937"/>
                  <a:gd name="connsiteX228" fmla="*/ 266490 w 869950"/>
                  <a:gd name="connsiteY228" fmla="*/ 352425 h 896937"/>
                  <a:gd name="connsiteX229" fmla="*/ 282250 w 869950"/>
                  <a:gd name="connsiteY229" fmla="*/ 352425 h 896937"/>
                  <a:gd name="connsiteX230" fmla="*/ 298011 w 869950"/>
                  <a:gd name="connsiteY230" fmla="*/ 352425 h 896937"/>
                  <a:gd name="connsiteX231" fmla="*/ 313771 w 869950"/>
                  <a:gd name="connsiteY231" fmla="*/ 352425 h 896937"/>
                  <a:gd name="connsiteX232" fmla="*/ 329531 w 869950"/>
                  <a:gd name="connsiteY232" fmla="*/ 352425 h 896937"/>
                  <a:gd name="connsiteX233" fmla="*/ 343142 w 869950"/>
                  <a:gd name="connsiteY233" fmla="*/ 352425 h 896937"/>
                  <a:gd name="connsiteX234" fmla="*/ 358902 w 869950"/>
                  <a:gd name="connsiteY234" fmla="*/ 352425 h 896937"/>
                  <a:gd name="connsiteX235" fmla="*/ 374662 w 869950"/>
                  <a:gd name="connsiteY235" fmla="*/ 352425 h 896937"/>
                  <a:gd name="connsiteX236" fmla="*/ 440568 w 869950"/>
                  <a:gd name="connsiteY236" fmla="*/ 352425 h 896937"/>
                  <a:gd name="connsiteX237" fmla="*/ 454179 w 869950"/>
                  <a:gd name="connsiteY237" fmla="*/ 361084 h 896937"/>
                  <a:gd name="connsiteX238" fmla="*/ 455612 w 869950"/>
                  <a:gd name="connsiteY238" fmla="*/ 368300 h 896937"/>
                  <a:gd name="connsiteX239" fmla="*/ 440568 w 869950"/>
                  <a:gd name="connsiteY239" fmla="*/ 384175 h 896937"/>
                  <a:gd name="connsiteX240" fmla="*/ 374662 w 869950"/>
                  <a:gd name="connsiteY240" fmla="*/ 384175 h 896937"/>
                  <a:gd name="connsiteX241" fmla="*/ 358902 w 869950"/>
                  <a:gd name="connsiteY241" fmla="*/ 384175 h 896937"/>
                  <a:gd name="connsiteX242" fmla="*/ 343142 w 869950"/>
                  <a:gd name="connsiteY242" fmla="*/ 384175 h 896937"/>
                  <a:gd name="connsiteX243" fmla="*/ 329531 w 869950"/>
                  <a:gd name="connsiteY243" fmla="*/ 384175 h 896937"/>
                  <a:gd name="connsiteX244" fmla="*/ 313771 w 869950"/>
                  <a:gd name="connsiteY244" fmla="*/ 384175 h 896937"/>
                  <a:gd name="connsiteX245" fmla="*/ 298011 w 869950"/>
                  <a:gd name="connsiteY245" fmla="*/ 384175 h 896937"/>
                  <a:gd name="connsiteX246" fmla="*/ 282250 w 869950"/>
                  <a:gd name="connsiteY246" fmla="*/ 384175 h 896937"/>
                  <a:gd name="connsiteX247" fmla="*/ 266490 w 869950"/>
                  <a:gd name="connsiteY247" fmla="*/ 384175 h 896937"/>
                  <a:gd name="connsiteX248" fmla="*/ 167631 w 869950"/>
                  <a:gd name="connsiteY248" fmla="*/ 384175 h 896937"/>
                  <a:gd name="connsiteX249" fmla="*/ 151871 w 869950"/>
                  <a:gd name="connsiteY249" fmla="*/ 384175 h 896937"/>
                  <a:gd name="connsiteX250" fmla="*/ 136111 w 869950"/>
                  <a:gd name="connsiteY250" fmla="*/ 384175 h 896937"/>
                  <a:gd name="connsiteX251" fmla="*/ 122500 w 869950"/>
                  <a:gd name="connsiteY251" fmla="*/ 384175 h 896937"/>
                  <a:gd name="connsiteX252" fmla="*/ 106740 w 869950"/>
                  <a:gd name="connsiteY252" fmla="*/ 384175 h 896937"/>
                  <a:gd name="connsiteX253" fmla="*/ 90979 w 869950"/>
                  <a:gd name="connsiteY253" fmla="*/ 384175 h 896937"/>
                  <a:gd name="connsiteX254" fmla="*/ 15044 w 869950"/>
                  <a:gd name="connsiteY254" fmla="*/ 384175 h 896937"/>
                  <a:gd name="connsiteX255" fmla="*/ 0 w 869950"/>
                  <a:gd name="connsiteY255" fmla="*/ 368300 h 896937"/>
                  <a:gd name="connsiteX256" fmla="*/ 15044 w 869950"/>
                  <a:gd name="connsiteY256" fmla="*/ 352425 h 896937"/>
                  <a:gd name="connsiteX257" fmla="*/ 601663 w 869950"/>
                  <a:gd name="connsiteY257" fmla="*/ 330200 h 896937"/>
                  <a:gd name="connsiteX258" fmla="*/ 646907 w 869950"/>
                  <a:gd name="connsiteY258" fmla="*/ 330200 h 896937"/>
                  <a:gd name="connsiteX259" fmla="*/ 660552 w 869950"/>
                  <a:gd name="connsiteY259" fmla="*/ 338617 h 896937"/>
                  <a:gd name="connsiteX260" fmla="*/ 661988 w 869950"/>
                  <a:gd name="connsiteY260" fmla="*/ 344930 h 896937"/>
                  <a:gd name="connsiteX261" fmla="*/ 646907 w 869950"/>
                  <a:gd name="connsiteY261" fmla="*/ 360362 h 896937"/>
                  <a:gd name="connsiteX262" fmla="*/ 601663 w 869950"/>
                  <a:gd name="connsiteY262" fmla="*/ 360362 h 896937"/>
                  <a:gd name="connsiteX263" fmla="*/ 601663 w 869950"/>
                  <a:gd name="connsiteY263" fmla="*/ 338617 h 896937"/>
                  <a:gd name="connsiteX264" fmla="*/ 601663 w 869950"/>
                  <a:gd name="connsiteY264" fmla="*/ 330200 h 896937"/>
                  <a:gd name="connsiteX265" fmla="*/ 808038 w 869950"/>
                  <a:gd name="connsiteY265" fmla="*/ 307975 h 896937"/>
                  <a:gd name="connsiteX266" fmla="*/ 853926 w 869950"/>
                  <a:gd name="connsiteY266" fmla="*/ 307975 h 896937"/>
                  <a:gd name="connsiteX267" fmla="*/ 869950 w 869950"/>
                  <a:gd name="connsiteY267" fmla="*/ 323056 h 896937"/>
                  <a:gd name="connsiteX268" fmla="*/ 853926 w 869950"/>
                  <a:gd name="connsiteY268" fmla="*/ 338137 h 896937"/>
                  <a:gd name="connsiteX269" fmla="*/ 808038 w 869950"/>
                  <a:gd name="connsiteY269" fmla="*/ 338137 h 896937"/>
                  <a:gd name="connsiteX270" fmla="*/ 808038 w 869950"/>
                  <a:gd name="connsiteY270" fmla="*/ 307975 h 896937"/>
                  <a:gd name="connsiteX271" fmla="*/ 15044 w 869950"/>
                  <a:gd name="connsiteY271" fmla="*/ 249237 h 896937"/>
                  <a:gd name="connsiteX272" fmla="*/ 90979 w 869950"/>
                  <a:gd name="connsiteY272" fmla="*/ 249237 h 896937"/>
                  <a:gd name="connsiteX273" fmla="*/ 106740 w 869950"/>
                  <a:gd name="connsiteY273" fmla="*/ 249237 h 896937"/>
                  <a:gd name="connsiteX274" fmla="*/ 122500 w 869950"/>
                  <a:gd name="connsiteY274" fmla="*/ 249237 h 896937"/>
                  <a:gd name="connsiteX275" fmla="*/ 136111 w 869950"/>
                  <a:gd name="connsiteY275" fmla="*/ 249237 h 896937"/>
                  <a:gd name="connsiteX276" fmla="*/ 151871 w 869950"/>
                  <a:gd name="connsiteY276" fmla="*/ 249237 h 896937"/>
                  <a:gd name="connsiteX277" fmla="*/ 167631 w 869950"/>
                  <a:gd name="connsiteY277" fmla="*/ 249237 h 896937"/>
                  <a:gd name="connsiteX278" fmla="*/ 209181 w 869950"/>
                  <a:gd name="connsiteY278" fmla="*/ 249237 h 896937"/>
                  <a:gd name="connsiteX279" fmla="*/ 266490 w 869950"/>
                  <a:gd name="connsiteY279" fmla="*/ 249237 h 896937"/>
                  <a:gd name="connsiteX280" fmla="*/ 282250 w 869950"/>
                  <a:gd name="connsiteY280" fmla="*/ 249237 h 896937"/>
                  <a:gd name="connsiteX281" fmla="*/ 298011 w 869950"/>
                  <a:gd name="connsiteY281" fmla="*/ 249237 h 896937"/>
                  <a:gd name="connsiteX282" fmla="*/ 313771 w 869950"/>
                  <a:gd name="connsiteY282" fmla="*/ 249237 h 896937"/>
                  <a:gd name="connsiteX283" fmla="*/ 329531 w 869950"/>
                  <a:gd name="connsiteY283" fmla="*/ 249237 h 896937"/>
                  <a:gd name="connsiteX284" fmla="*/ 343142 w 869950"/>
                  <a:gd name="connsiteY284" fmla="*/ 249237 h 896937"/>
                  <a:gd name="connsiteX285" fmla="*/ 358902 w 869950"/>
                  <a:gd name="connsiteY285" fmla="*/ 249237 h 896937"/>
                  <a:gd name="connsiteX286" fmla="*/ 374662 w 869950"/>
                  <a:gd name="connsiteY286" fmla="*/ 249237 h 896937"/>
                  <a:gd name="connsiteX287" fmla="*/ 440568 w 869950"/>
                  <a:gd name="connsiteY287" fmla="*/ 249237 h 896937"/>
                  <a:gd name="connsiteX288" fmla="*/ 454179 w 869950"/>
                  <a:gd name="connsiteY288" fmla="*/ 258097 h 896937"/>
                  <a:gd name="connsiteX289" fmla="*/ 455612 w 869950"/>
                  <a:gd name="connsiteY289" fmla="*/ 265481 h 896937"/>
                  <a:gd name="connsiteX290" fmla="*/ 440568 w 869950"/>
                  <a:gd name="connsiteY290" fmla="*/ 280987 h 896937"/>
                  <a:gd name="connsiteX291" fmla="*/ 374662 w 869950"/>
                  <a:gd name="connsiteY291" fmla="*/ 280987 h 896937"/>
                  <a:gd name="connsiteX292" fmla="*/ 358902 w 869950"/>
                  <a:gd name="connsiteY292" fmla="*/ 280987 h 896937"/>
                  <a:gd name="connsiteX293" fmla="*/ 343142 w 869950"/>
                  <a:gd name="connsiteY293" fmla="*/ 280987 h 896937"/>
                  <a:gd name="connsiteX294" fmla="*/ 329531 w 869950"/>
                  <a:gd name="connsiteY294" fmla="*/ 280987 h 896937"/>
                  <a:gd name="connsiteX295" fmla="*/ 313771 w 869950"/>
                  <a:gd name="connsiteY295" fmla="*/ 280987 h 896937"/>
                  <a:gd name="connsiteX296" fmla="*/ 298011 w 869950"/>
                  <a:gd name="connsiteY296" fmla="*/ 280987 h 896937"/>
                  <a:gd name="connsiteX297" fmla="*/ 282250 w 869950"/>
                  <a:gd name="connsiteY297" fmla="*/ 280987 h 896937"/>
                  <a:gd name="connsiteX298" fmla="*/ 266490 w 869950"/>
                  <a:gd name="connsiteY298" fmla="*/ 280987 h 896937"/>
                  <a:gd name="connsiteX299" fmla="*/ 167631 w 869950"/>
                  <a:gd name="connsiteY299" fmla="*/ 280987 h 896937"/>
                  <a:gd name="connsiteX300" fmla="*/ 151871 w 869950"/>
                  <a:gd name="connsiteY300" fmla="*/ 280987 h 896937"/>
                  <a:gd name="connsiteX301" fmla="*/ 136111 w 869950"/>
                  <a:gd name="connsiteY301" fmla="*/ 280987 h 896937"/>
                  <a:gd name="connsiteX302" fmla="*/ 122500 w 869950"/>
                  <a:gd name="connsiteY302" fmla="*/ 280987 h 896937"/>
                  <a:gd name="connsiteX303" fmla="*/ 106740 w 869950"/>
                  <a:gd name="connsiteY303" fmla="*/ 280987 h 896937"/>
                  <a:gd name="connsiteX304" fmla="*/ 90979 w 869950"/>
                  <a:gd name="connsiteY304" fmla="*/ 280987 h 896937"/>
                  <a:gd name="connsiteX305" fmla="*/ 15044 w 869950"/>
                  <a:gd name="connsiteY305" fmla="*/ 280987 h 896937"/>
                  <a:gd name="connsiteX306" fmla="*/ 0 w 869950"/>
                  <a:gd name="connsiteY306" fmla="*/ 265481 h 896937"/>
                  <a:gd name="connsiteX307" fmla="*/ 15044 w 869950"/>
                  <a:gd name="connsiteY307" fmla="*/ 249237 h 896937"/>
                  <a:gd name="connsiteX308" fmla="*/ 601663 w 869950"/>
                  <a:gd name="connsiteY308" fmla="*/ 227012 h 896937"/>
                  <a:gd name="connsiteX309" fmla="*/ 646907 w 869950"/>
                  <a:gd name="connsiteY309" fmla="*/ 227012 h 896937"/>
                  <a:gd name="connsiteX310" fmla="*/ 660552 w 869950"/>
                  <a:gd name="connsiteY310" fmla="*/ 235671 h 896937"/>
                  <a:gd name="connsiteX311" fmla="*/ 661988 w 869950"/>
                  <a:gd name="connsiteY311" fmla="*/ 242887 h 896937"/>
                  <a:gd name="connsiteX312" fmla="*/ 646907 w 869950"/>
                  <a:gd name="connsiteY312" fmla="*/ 258762 h 896937"/>
                  <a:gd name="connsiteX313" fmla="*/ 601663 w 869950"/>
                  <a:gd name="connsiteY313" fmla="*/ 258762 h 896937"/>
                  <a:gd name="connsiteX314" fmla="*/ 601663 w 869950"/>
                  <a:gd name="connsiteY314" fmla="*/ 235671 h 896937"/>
                  <a:gd name="connsiteX315" fmla="*/ 601663 w 869950"/>
                  <a:gd name="connsiteY315" fmla="*/ 227012 h 896937"/>
                  <a:gd name="connsiteX316" fmla="*/ 808038 w 869950"/>
                  <a:gd name="connsiteY316" fmla="*/ 204787 h 896937"/>
                  <a:gd name="connsiteX317" fmla="*/ 853926 w 869950"/>
                  <a:gd name="connsiteY317" fmla="*/ 204787 h 896937"/>
                  <a:gd name="connsiteX318" fmla="*/ 869950 w 869950"/>
                  <a:gd name="connsiteY318" fmla="*/ 219517 h 896937"/>
                  <a:gd name="connsiteX319" fmla="*/ 853926 w 869950"/>
                  <a:gd name="connsiteY319" fmla="*/ 234949 h 896937"/>
                  <a:gd name="connsiteX320" fmla="*/ 808038 w 869950"/>
                  <a:gd name="connsiteY320" fmla="*/ 234949 h 896937"/>
                  <a:gd name="connsiteX321" fmla="*/ 808038 w 869950"/>
                  <a:gd name="connsiteY321" fmla="*/ 204787 h 896937"/>
                  <a:gd name="connsiteX322" fmla="*/ 601663 w 869950"/>
                  <a:gd name="connsiteY322" fmla="*/ 125412 h 896937"/>
                  <a:gd name="connsiteX323" fmla="*/ 646907 w 869950"/>
                  <a:gd name="connsiteY323" fmla="*/ 125412 h 896937"/>
                  <a:gd name="connsiteX324" fmla="*/ 660552 w 869950"/>
                  <a:gd name="connsiteY324" fmla="*/ 133829 h 896937"/>
                  <a:gd name="connsiteX325" fmla="*/ 661988 w 869950"/>
                  <a:gd name="connsiteY325" fmla="*/ 140142 h 896937"/>
                  <a:gd name="connsiteX326" fmla="*/ 646907 w 869950"/>
                  <a:gd name="connsiteY326" fmla="*/ 155574 h 896937"/>
                  <a:gd name="connsiteX327" fmla="*/ 601663 w 869950"/>
                  <a:gd name="connsiteY327" fmla="*/ 155574 h 896937"/>
                  <a:gd name="connsiteX328" fmla="*/ 601663 w 869950"/>
                  <a:gd name="connsiteY328" fmla="*/ 133829 h 896937"/>
                  <a:gd name="connsiteX329" fmla="*/ 601663 w 869950"/>
                  <a:gd name="connsiteY329" fmla="*/ 125412 h 896937"/>
                  <a:gd name="connsiteX330" fmla="*/ 808038 w 869950"/>
                  <a:gd name="connsiteY330" fmla="*/ 101600 h 896937"/>
                  <a:gd name="connsiteX331" fmla="*/ 853926 w 869950"/>
                  <a:gd name="connsiteY331" fmla="*/ 101600 h 896937"/>
                  <a:gd name="connsiteX332" fmla="*/ 869950 w 869950"/>
                  <a:gd name="connsiteY332" fmla="*/ 117475 h 896937"/>
                  <a:gd name="connsiteX333" fmla="*/ 853926 w 869950"/>
                  <a:gd name="connsiteY333" fmla="*/ 133350 h 896937"/>
                  <a:gd name="connsiteX334" fmla="*/ 808038 w 869950"/>
                  <a:gd name="connsiteY334" fmla="*/ 133350 h 896937"/>
                  <a:gd name="connsiteX335" fmla="*/ 808038 w 869950"/>
                  <a:gd name="connsiteY335" fmla="*/ 101600 h 896937"/>
                  <a:gd name="connsiteX336" fmla="*/ 808038 w 869950"/>
                  <a:gd name="connsiteY336" fmla="*/ 0 h 896937"/>
                  <a:gd name="connsiteX337" fmla="*/ 853926 w 869950"/>
                  <a:gd name="connsiteY337" fmla="*/ 0 h 896937"/>
                  <a:gd name="connsiteX338" fmla="*/ 869950 w 869950"/>
                  <a:gd name="connsiteY338" fmla="*/ 14730 h 896937"/>
                  <a:gd name="connsiteX339" fmla="*/ 853926 w 869950"/>
                  <a:gd name="connsiteY339" fmla="*/ 30162 h 896937"/>
                  <a:gd name="connsiteX340" fmla="*/ 808038 w 869950"/>
                  <a:gd name="connsiteY340" fmla="*/ 30162 h 896937"/>
                  <a:gd name="connsiteX341" fmla="*/ 808038 w 869950"/>
                  <a:gd name="connsiteY341" fmla="*/ 0 h 89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869950" h="896937">
                    <a:moveTo>
                      <a:pt x="15044" y="866775"/>
                    </a:moveTo>
                    <a:cubicBezTo>
                      <a:pt x="42266" y="866775"/>
                      <a:pt x="67339" y="866775"/>
                      <a:pt x="90979" y="866775"/>
                    </a:cubicBezTo>
                    <a:cubicBezTo>
                      <a:pt x="95994" y="866775"/>
                      <a:pt x="101009" y="866775"/>
                      <a:pt x="106740" y="866775"/>
                    </a:cubicBezTo>
                    <a:cubicBezTo>
                      <a:pt x="111754" y="866775"/>
                      <a:pt x="116769" y="866775"/>
                      <a:pt x="122500" y="866775"/>
                    </a:cubicBezTo>
                    <a:cubicBezTo>
                      <a:pt x="126798" y="866775"/>
                      <a:pt x="131096" y="866775"/>
                      <a:pt x="136111" y="866775"/>
                    </a:cubicBezTo>
                    <a:cubicBezTo>
                      <a:pt x="440568" y="866775"/>
                      <a:pt x="440568" y="866775"/>
                      <a:pt x="440568" y="866775"/>
                    </a:cubicBezTo>
                    <a:cubicBezTo>
                      <a:pt x="447016" y="866775"/>
                      <a:pt x="452030" y="870282"/>
                      <a:pt x="454179" y="875894"/>
                    </a:cubicBezTo>
                    <a:cubicBezTo>
                      <a:pt x="455612" y="877297"/>
                      <a:pt x="455612" y="879401"/>
                      <a:pt x="455612" y="882207"/>
                    </a:cubicBezTo>
                    <a:cubicBezTo>
                      <a:pt x="455612" y="882908"/>
                      <a:pt x="455612" y="882908"/>
                      <a:pt x="455612" y="883610"/>
                    </a:cubicBezTo>
                    <a:cubicBezTo>
                      <a:pt x="455612" y="885013"/>
                      <a:pt x="455612" y="885714"/>
                      <a:pt x="454896" y="887117"/>
                    </a:cubicBezTo>
                    <a:cubicBezTo>
                      <a:pt x="453463" y="891326"/>
                      <a:pt x="450598" y="894833"/>
                      <a:pt x="445583" y="896236"/>
                    </a:cubicBezTo>
                    <a:cubicBezTo>
                      <a:pt x="445583" y="896236"/>
                      <a:pt x="444867" y="896937"/>
                      <a:pt x="444150" y="896937"/>
                    </a:cubicBezTo>
                    <a:cubicBezTo>
                      <a:pt x="444150" y="896937"/>
                      <a:pt x="443434" y="896937"/>
                      <a:pt x="443434" y="896937"/>
                    </a:cubicBezTo>
                    <a:cubicBezTo>
                      <a:pt x="442718" y="896937"/>
                      <a:pt x="441285" y="896937"/>
                      <a:pt x="440568" y="896937"/>
                    </a:cubicBezTo>
                    <a:cubicBezTo>
                      <a:pt x="270072" y="896937"/>
                      <a:pt x="167631" y="896937"/>
                      <a:pt x="106740" y="896937"/>
                    </a:cubicBezTo>
                    <a:cubicBezTo>
                      <a:pt x="101009" y="896937"/>
                      <a:pt x="95278" y="896937"/>
                      <a:pt x="90979" y="896937"/>
                    </a:cubicBezTo>
                    <a:cubicBezTo>
                      <a:pt x="15044" y="896937"/>
                      <a:pt x="15044" y="896937"/>
                      <a:pt x="15044" y="896937"/>
                    </a:cubicBezTo>
                    <a:cubicBezTo>
                      <a:pt x="15044" y="896937"/>
                      <a:pt x="15044" y="896937"/>
                      <a:pt x="14328" y="896937"/>
                    </a:cubicBezTo>
                    <a:cubicBezTo>
                      <a:pt x="6448" y="896937"/>
                      <a:pt x="0" y="890624"/>
                      <a:pt x="0" y="882207"/>
                    </a:cubicBezTo>
                    <a:cubicBezTo>
                      <a:pt x="0" y="873790"/>
                      <a:pt x="6448" y="866775"/>
                      <a:pt x="15044" y="866775"/>
                    </a:cubicBezTo>
                    <a:close/>
                    <a:moveTo>
                      <a:pt x="15044" y="763587"/>
                    </a:moveTo>
                    <a:cubicBezTo>
                      <a:pt x="42266" y="763587"/>
                      <a:pt x="67339" y="763587"/>
                      <a:pt x="90979" y="763587"/>
                    </a:cubicBezTo>
                    <a:cubicBezTo>
                      <a:pt x="95994" y="763587"/>
                      <a:pt x="101009" y="763587"/>
                      <a:pt x="106740" y="763587"/>
                    </a:cubicBezTo>
                    <a:cubicBezTo>
                      <a:pt x="111754" y="763587"/>
                      <a:pt x="116769" y="763587"/>
                      <a:pt x="122500" y="763587"/>
                    </a:cubicBezTo>
                    <a:cubicBezTo>
                      <a:pt x="126798" y="763587"/>
                      <a:pt x="131096" y="763587"/>
                      <a:pt x="136111" y="763587"/>
                    </a:cubicBezTo>
                    <a:cubicBezTo>
                      <a:pt x="141125" y="763587"/>
                      <a:pt x="146140" y="763587"/>
                      <a:pt x="151871" y="763587"/>
                    </a:cubicBezTo>
                    <a:cubicBezTo>
                      <a:pt x="156886" y="763587"/>
                      <a:pt x="161900" y="763587"/>
                      <a:pt x="167631" y="763587"/>
                    </a:cubicBezTo>
                    <a:cubicBezTo>
                      <a:pt x="181958" y="763587"/>
                      <a:pt x="195570" y="763587"/>
                      <a:pt x="209181" y="763587"/>
                    </a:cubicBezTo>
                    <a:cubicBezTo>
                      <a:pt x="229955" y="763587"/>
                      <a:pt x="249297" y="763587"/>
                      <a:pt x="266490" y="763587"/>
                    </a:cubicBezTo>
                    <a:cubicBezTo>
                      <a:pt x="272221" y="763587"/>
                      <a:pt x="277236" y="763587"/>
                      <a:pt x="282250" y="763587"/>
                    </a:cubicBezTo>
                    <a:cubicBezTo>
                      <a:pt x="287981" y="763587"/>
                      <a:pt x="292996" y="763587"/>
                      <a:pt x="298011" y="763587"/>
                    </a:cubicBezTo>
                    <a:cubicBezTo>
                      <a:pt x="303742" y="763587"/>
                      <a:pt x="308756" y="763587"/>
                      <a:pt x="313771" y="763587"/>
                    </a:cubicBezTo>
                    <a:cubicBezTo>
                      <a:pt x="440568" y="763587"/>
                      <a:pt x="440568" y="763587"/>
                      <a:pt x="440568" y="763587"/>
                    </a:cubicBezTo>
                    <a:cubicBezTo>
                      <a:pt x="444867" y="763587"/>
                      <a:pt x="448449" y="765752"/>
                      <a:pt x="450598" y="767917"/>
                    </a:cubicBezTo>
                    <a:cubicBezTo>
                      <a:pt x="451314" y="767917"/>
                      <a:pt x="451314" y="768638"/>
                      <a:pt x="452030" y="769360"/>
                    </a:cubicBezTo>
                    <a:cubicBezTo>
                      <a:pt x="452747" y="770081"/>
                      <a:pt x="453463" y="771525"/>
                      <a:pt x="454179" y="772246"/>
                    </a:cubicBezTo>
                    <a:cubicBezTo>
                      <a:pt x="454896" y="774411"/>
                      <a:pt x="455612" y="775854"/>
                      <a:pt x="455612" y="778019"/>
                    </a:cubicBezTo>
                    <a:cubicBezTo>
                      <a:pt x="455612" y="778741"/>
                      <a:pt x="455612" y="778741"/>
                      <a:pt x="455612" y="779462"/>
                    </a:cubicBezTo>
                    <a:cubicBezTo>
                      <a:pt x="455612" y="780905"/>
                      <a:pt x="455612" y="781627"/>
                      <a:pt x="455612" y="782348"/>
                    </a:cubicBezTo>
                    <a:cubicBezTo>
                      <a:pt x="455612" y="783070"/>
                      <a:pt x="455612" y="783792"/>
                      <a:pt x="454896" y="783792"/>
                    </a:cubicBezTo>
                    <a:cubicBezTo>
                      <a:pt x="454896" y="784513"/>
                      <a:pt x="454896" y="784513"/>
                      <a:pt x="454896" y="784513"/>
                    </a:cubicBezTo>
                    <a:cubicBezTo>
                      <a:pt x="454179" y="788843"/>
                      <a:pt x="451314" y="791729"/>
                      <a:pt x="447732" y="793894"/>
                    </a:cubicBezTo>
                    <a:cubicBezTo>
                      <a:pt x="447016" y="793894"/>
                      <a:pt x="446299" y="794616"/>
                      <a:pt x="445583" y="794616"/>
                    </a:cubicBezTo>
                    <a:cubicBezTo>
                      <a:pt x="444867" y="794616"/>
                      <a:pt x="444867" y="794616"/>
                      <a:pt x="444867" y="794616"/>
                    </a:cubicBezTo>
                    <a:cubicBezTo>
                      <a:pt x="444150" y="794616"/>
                      <a:pt x="443434" y="794616"/>
                      <a:pt x="443434" y="795337"/>
                    </a:cubicBezTo>
                    <a:cubicBezTo>
                      <a:pt x="442001" y="795337"/>
                      <a:pt x="441285" y="795337"/>
                      <a:pt x="440568" y="795337"/>
                    </a:cubicBezTo>
                    <a:cubicBezTo>
                      <a:pt x="381826" y="795337"/>
                      <a:pt x="330964" y="795337"/>
                      <a:pt x="287981" y="795337"/>
                    </a:cubicBezTo>
                    <a:cubicBezTo>
                      <a:pt x="281534" y="795337"/>
                      <a:pt x="275803" y="795337"/>
                      <a:pt x="270072" y="795337"/>
                    </a:cubicBezTo>
                    <a:cubicBezTo>
                      <a:pt x="229955" y="795337"/>
                      <a:pt x="196286" y="795337"/>
                      <a:pt x="167631" y="795337"/>
                    </a:cubicBezTo>
                    <a:cubicBezTo>
                      <a:pt x="161900" y="795337"/>
                      <a:pt x="156886" y="795337"/>
                      <a:pt x="151871" y="795337"/>
                    </a:cubicBezTo>
                    <a:cubicBezTo>
                      <a:pt x="146140" y="795337"/>
                      <a:pt x="141125" y="795337"/>
                      <a:pt x="136111" y="795337"/>
                    </a:cubicBezTo>
                    <a:cubicBezTo>
                      <a:pt x="131096" y="795337"/>
                      <a:pt x="126798" y="795337"/>
                      <a:pt x="122500" y="795337"/>
                    </a:cubicBezTo>
                    <a:cubicBezTo>
                      <a:pt x="116769" y="795337"/>
                      <a:pt x="111038" y="795337"/>
                      <a:pt x="106740" y="795337"/>
                    </a:cubicBezTo>
                    <a:cubicBezTo>
                      <a:pt x="101009" y="795337"/>
                      <a:pt x="95278" y="795337"/>
                      <a:pt x="90979" y="795337"/>
                    </a:cubicBezTo>
                    <a:cubicBezTo>
                      <a:pt x="15044" y="795337"/>
                      <a:pt x="15044" y="795337"/>
                      <a:pt x="15044" y="795337"/>
                    </a:cubicBezTo>
                    <a:cubicBezTo>
                      <a:pt x="6448" y="795337"/>
                      <a:pt x="0" y="788843"/>
                      <a:pt x="0" y="779462"/>
                    </a:cubicBezTo>
                    <a:cubicBezTo>
                      <a:pt x="0" y="770803"/>
                      <a:pt x="6448" y="763587"/>
                      <a:pt x="15044" y="763587"/>
                    </a:cubicBezTo>
                    <a:close/>
                    <a:moveTo>
                      <a:pt x="601663" y="741362"/>
                    </a:moveTo>
                    <a:cubicBezTo>
                      <a:pt x="646907" y="741362"/>
                      <a:pt x="646907" y="741362"/>
                      <a:pt x="646907" y="741362"/>
                    </a:cubicBezTo>
                    <a:cubicBezTo>
                      <a:pt x="653370" y="741362"/>
                      <a:pt x="658397" y="744869"/>
                      <a:pt x="660552" y="750481"/>
                    </a:cubicBezTo>
                    <a:cubicBezTo>
                      <a:pt x="661270" y="751884"/>
                      <a:pt x="661988" y="753988"/>
                      <a:pt x="661988" y="756794"/>
                    </a:cubicBezTo>
                    <a:cubicBezTo>
                      <a:pt x="661988" y="758197"/>
                      <a:pt x="661988" y="760301"/>
                      <a:pt x="661270" y="761704"/>
                    </a:cubicBezTo>
                    <a:cubicBezTo>
                      <a:pt x="659116" y="767315"/>
                      <a:pt x="654089" y="771524"/>
                      <a:pt x="646907" y="771524"/>
                    </a:cubicBezTo>
                    <a:cubicBezTo>
                      <a:pt x="631108" y="771524"/>
                      <a:pt x="616026" y="771524"/>
                      <a:pt x="601663" y="771524"/>
                    </a:cubicBezTo>
                    <a:cubicBezTo>
                      <a:pt x="601663" y="771524"/>
                      <a:pt x="601663" y="771524"/>
                      <a:pt x="601663" y="761704"/>
                    </a:cubicBezTo>
                    <a:cubicBezTo>
                      <a:pt x="601663" y="761704"/>
                      <a:pt x="601663" y="761704"/>
                      <a:pt x="601663" y="750481"/>
                    </a:cubicBezTo>
                    <a:cubicBezTo>
                      <a:pt x="601663" y="750481"/>
                      <a:pt x="601663" y="750481"/>
                      <a:pt x="601663" y="741362"/>
                    </a:cubicBezTo>
                    <a:close/>
                    <a:moveTo>
                      <a:pt x="15044" y="661987"/>
                    </a:moveTo>
                    <a:cubicBezTo>
                      <a:pt x="42266" y="661987"/>
                      <a:pt x="67339" y="661987"/>
                      <a:pt x="90979" y="661987"/>
                    </a:cubicBezTo>
                    <a:cubicBezTo>
                      <a:pt x="95994" y="661987"/>
                      <a:pt x="101009" y="661987"/>
                      <a:pt x="106740" y="661987"/>
                    </a:cubicBezTo>
                    <a:cubicBezTo>
                      <a:pt x="111754" y="661987"/>
                      <a:pt x="116769" y="661987"/>
                      <a:pt x="122500" y="661987"/>
                    </a:cubicBezTo>
                    <a:cubicBezTo>
                      <a:pt x="126798" y="661987"/>
                      <a:pt x="131096" y="661987"/>
                      <a:pt x="136111" y="661987"/>
                    </a:cubicBezTo>
                    <a:cubicBezTo>
                      <a:pt x="141125" y="661987"/>
                      <a:pt x="146140" y="661987"/>
                      <a:pt x="151871" y="661987"/>
                    </a:cubicBezTo>
                    <a:cubicBezTo>
                      <a:pt x="156886" y="661987"/>
                      <a:pt x="161900" y="661987"/>
                      <a:pt x="167631" y="661987"/>
                    </a:cubicBezTo>
                    <a:cubicBezTo>
                      <a:pt x="181958" y="661987"/>
                      <a:pt x="195570" y="661987"/>
                      <a:pt x="209181" y="661987"/>
                    </a:cubicBezTo>
                    <a:cubicBezTo>
                      <a:pt x="229955" y="661987"/>
                      <a:pt x="249297" y="661987"/>
                      <a:pt x="266490" y="661987"/>
                    </a:cubicBezTo>
                    <a:cubicBezTo>
                      <a:pt x="272221" y="661987"/>
                      <a:pt x="277236" y="661987"/>
                      <a:pt x="282250" y="661987"/>
                    </a:cubicBezTo>
                    <a:cubicBezTo>
                      <a:pt x="287981" y="661987"/>
                      <a:pt x="292996" y="661987"/>
                      <a:pt x="298011" y="661987"/>
                    </a:cubicBezTo>
                    <a:cubicBezTo>
                      <a:pt x="303742" y="661987"/>
                      <a:pt x="308756" y="661987"/>
                      <a:pt x="313771" y="661987"/>
                    </a:cubicBezTo>
                    <a:cubicBezTo>
                      <a:pt x="319502" y="661987"/>
                      <a:pt x="324516" y="661987"/>
                      <a:pt x="329531" y="661987"/>
                    </a:cubicBezTo>
                    <a:cubicBezTo>
                      <a:pt x="334546" y="661987"/>
                      <a:pt x="338844" y="661987"/>
                      <a:pt x="343142" y="661987"/>
                    </a:cubicBezTo>
                    <a:cubicBezTo>
                      <a:pt x="348873" y="661987"/>
                      <a:pt x="354604" y="661987"/>
                      <a:pt x="358902" y="661987"/>
                    </a:cubicBezTo>
                    <a:cubicBezTo>
                      <a:pt x="364633" y="661987"/>
                      <a:pt x="370364" y="661987"/>
                      <a:pt x="374662" y="661987"/>
                    </a:cubicBezTo>
                    <a:cubicBezTo>
                      <a:pt x="440568" y="661987"/>
                      <a:pt x="440568" y="661987"/>
                      <a:pt x="440568" y="661987"/>
                    </a:cubicBezTo>
                    <a:cubicBezTo>
                      <a:pt x="447016" y="661987"/>
                      <a:pt x="452030" y="665494"/>
                      <a:pt x="454179" y="670404"/>
                    </a:cubicBezTo>
                    <a:cubicBezTo>
                      <a:pt x="455612" y="672509"/>
                      <a:pt x="455612" y="674613"/>
                      <a:pt x="455612" y="677419"/>
                    </a:cubicBezTo>
                    <a:cubicBezTo>
                      <a:pt x="455612" y="685836"/>
                      <a:pt x="449881" y="692149"/>
                      <a:pt x="440568" y="692149"/>
                    </a:cubicBezTo>
                    <a:cubicBezTo>
                      <a:pt x="417645" y="692149"/>
                      <a:pt x="395437" y="692149"/>
                      <a:pt x="374662" y="692149"/>
                    </a:cubicBezTo>
                    <a:cubicBezTo>
                      <a:pt x="369648" y="692149"/>
                      <a:pt x="364633" y="692149"/>
                      <a:pt x="358902" y="692149"/>
                    </a:cubicBezTo>
                    <a:cubicBezTo>
                      <a:pt x="353888" y="692149"/>
                      <a:pt x="348873" y="692149"/>
                      <a:pt x="343142" y="692149"/>
                    </a:cubicBezTo>
                    <a:cubicBezTo>
                      <a:pt x="338844" y="692149"/>
                      <a:pt x="334546" y="692149"/>
                      <a:pt x="329531" y="692149"/>
                    </a:cubicBezTo>
                    <a:cubicBezTo>
                      <a:pt x="324516" y="692149"/>
                      <a:pt x="319502" y="692149"/>
                      <a:pt x="313771" y="692149"/>
                    </a:cubicBezTo>
                    <a:cubicBezTo>
                      <a:pt x="308756" y="692149"/>
                      <a:pt x="303742" y="692149"/>
                      <a:pt x="298011" y="692149"/>
                    </a:cubicBezTo>
                    <a:cubicBezTo>
                      <a:pt x="292996" y="692149"/>
                      <a:pt x="287981" y="692149"/>
                      <a:pt x="282250" y="692149"/>
                    </a:cubicBezTo>
                    <a:cubicBezTo>
                      <a:pt x="277236" y="692149"/>
                      <a:pt x="272221" y="692149"/>
                      <a:pt x="266490" y="692149"/>
                    </a:cubicBezTo>
                    <a:cubicBezTo>
                      <a:pt x="227806" y="692149"/>
                      <a:pt x="194853" y="692149"/>
                      <a:pt x="167631" y="692149"/>
                    </a:cubicBezTo>
                    <a:cubicBezTo>
                      <a:pt x="161900" y="692149"/>
                      <a:pt x="156886" y="692149"/>
                      <a:pt x="151871" y="692149"/>
                    </a:cubicBezTo>
                    <a:cubicBezTo>
                      <a:pt x="146140" y="692149"/>
                      <a:pt x="141125" y="692149"/>
                      <a:pt x="136111" y="692149"/>
                    </a:cubicBezTo>
                    <a:cubicBezTo>
                      <a:pt x="131096" y="692149"/>
                      <a:pt x="126798" y="692149"/>
                      <a:pt x="122500" y="692149"/>
                    </a:cubicBezTo>
                    <a:cubicBezTo>
                      <a:pt x="116769" y="692149"/>
                      <a:pt x="111038" y="692149"/>
                      <a:pt x="106740" y="692149"/>
                    </a:cubicBezTo>
                    <a:cubicBezTo>
                      <a:pt x="101009" y="692149"/>
                      <a:pt x="95278" y="692149"/>
                      <a:pt x="90979" y="692149"/>
                    </a:cubicBezTo>
                    <a:cubicBezTo>
                      <a:pt x="15044" y="692149"/>
                      <a:pt x="15044" y="692149"/>
                      <a:pt x="15044" y="692149"/>
                    </a:cubicBezTo>
                    <a:cubicBezTo>
                      <a:pt x="6448" y="692149"/>
                      <a:pt x="0" y="685836"/>
                      <a:pt x="0" y="677419"/>
                    </a:cubicBezTo>
                    <a:cubicBezTo>
                      <a:pt x="0" y="669002"/>
                      <a:pt x="6448" y="661987"/>
                      <a:pt x="15044" y="661987"/>
                    </a:cubicBezTo>
                    <a:close/>
                    <a:moveTo>
                      <a:pt x="601663" y="638175"/>
                    </a:moveTo>
                    <a:cubicBezTo>
                      <a:pt x="646907" y="638175"/>
                      <a:pt x="646907" y="638175"/>
                      <a:pt x="646907" y="638175"/>
                    </a:cubicBezTo>
                    <a:cubicBezTo>
                      <a:pt x="653370" y="638175"/>
                      <a:pt x="658397" y="641783"/>
                      <a:pt x="660552" y="646834"/>
                    </a:cubicBezTo>
                    <a:cubicBezTo>
                      <a:pt x="661270" y="648999"/>
                      <a:pt x="661988" y="651885"/>
                      <a:pt x="661988" y="654050"/>
                    </a:cubicBezTo>
                    <a:cubicBezTo>
                      <a:pt x="661988" y="663431"/>
                      <a:pt x="655525" y="669925"/>
                      <a:pt x="646907" y="669925"/>
                    </a:cubicBezTo>
                    <a:cubicBezTo>
                      <a:pt x="631108" y="669925"/>
                      <a:pt x="616026" y="669925"/>
                      <a:pt x="601663" y="669925"/>
                    </a:cubicBezTo>
                    <a:cubicBezTo>
                      <a:pt x="601663" y="669925"/>
                      <a:pt x="601663" y="669925"/>
                      <a:pt x="601663" y="646834"/>
                    </a:cubicBezTo>
                    <a:cubicBezTo>
                      <a:pt x="601663" y="646834"/>
                      <a:pt x="601663" y="646834"/>
                      <a:pt x="601663" y="638175"/>
                    </a:cubicBezTo>
                    <a:close/>
                    <a:moveTo>
                      <a:pt x="808038" y="615950"/>
                    </a:moveTo>
                    <a:cubicBezTo>
                      <a:pt x="853926" y="615950"/>
                      <a:pt x="853926" y="615950"/>
                      <a:pt x="853926" y="615950"/>
                    </a:cubicBezTo>
                    <a:cubicBezTo>
                      <a:pt x="863395" y="615950"/>
                      <a:pt x="869950" y="623334"/>
                      <a:pt x="869950" y="631456"/>
                    </a:cubicBezTo>
                    <a:cubicBezTo>
                      <a:pt x="869950" y="640316"/>
                      <a:pt x="863395" y="647700"/>
                      <a:pt x="853926" y="647700"/>
                    </a:cubicBezTo>
                    <a:cubicBezTo>
                      <a:pt x="838630" y="647700"/>
                      <a:pt x="823334" y="647700"/>
                      <a:pt x="808038" y="647700"/>
                    </a:cubicBezTo>
                    <a:cubicBezTo>
                      <a:pt x="808038" y="647700"/>
                      <a:pt x="808038" y="647700"/>
                      <a:pt x="808038" y="615950"/>
                    </a:cubicBezTo>
                    <a:close/>
                    <a:moveTo>
                      <a:pt x="15044" y="558800"/>
                    </a:moveTo>
                    <a:cubicBezTo>
                      <a:pt x="42266" y="558800"/>
                      <a:pt x="67339" y="558800"/>
                      <a:pt x="90979" y="558800"/>
                    </a:cubicBezTo>
                    <a:cubicBezTo>
                      <a:pt x="95994" y="558800"/>
                      <a:pt x="101009" y="558800"/>
                      <a:pt x="106740" y="558800"/>
                    </a:cubicBezTo>
                    <a:cubicBezTo>
                      <a:pt x="111754" y="558800"/>
                      <a:pt x="116769" y="558800"/>
                      <a:pt x="122500" y="558800"/>
                    </a:cubicBezTo>
                    <a:cubicBezTo>
                      <a:pt x="126798" y="558800"/>
                      <a:pt x="131096" y="558800"/>
                      <a:pt x="136111" y="558800"/>
                    </a:cubicBezTo>
                    <a:cubicBezTo>
                      <a:pt x="141125" y="558800"/>
                      <a:pt x="146140" y="558800"/>
                      <a:pt x="151871" y="558800"/>
                    </a:cubicBezTo>
                    <a:cubicBezTo>
                      <a:pt x="156886" y="558800"/>
                      <a:pt x="161900" y="558800"/>
                      <a:pt x="167631" y="558800"/>
                    </a:cubicBezTo>
                    <a:cubicBezTo>
                      <a:pt x="181958" y="558800"/>
                      <a:pt x="195570" y="558800"/>
                      <a:pt x="209181" y="558800"/>
                    </a:cubicBezTo>
                    <a:cubicBezTo>
                      <a:pt x="229955" y="558800"/>
                      <a:pt x="249297" y="558800"/>
                      <a:pt x="266490" y="558800"/>
                    </a:cubicBezTo>
                    <a:cubicBezTo>
                      <a:pt x="272221" y="558800"/>
                      <a:pt x="277236" y="558800"/>
                      <a:pt x="282250" y="558800"/>
                    </a:cubicBezTo>
                    <a:cubicBezTo>
                      <a:pt x="287981" y="558800"/>
                      <a:pt x="292996" y="558800"/>
                      <a:pt x="298011" y="558800"/>
                    </a:cubicBezTo>
                    <a:cubicBezTo>
                      <a:pt x="303742" y="558800"/>
                      <a:pt x="308756" y="558800"/>
                      <a:pt x="313771" y="558800"/>
                    </a:cubicBezTo>
                    <a:cubicBezTo>
                      <a:pt x="319502" y="558800"/>
                      <a:pt x="324516" y="558800"/>
                      <a:pt x="329531" y="558800"/>
                    </a:cubicBezTo>
                    <a:cubicBezTo>
                      <a:pt x="334546" y="558800"/>
                      <a:pt x="338844" y="558800"/>
                      <a:pt x="343142" y="558800"/>
                    </a:cubicBezTo>
                    <a:cubicBezTo>
                      <a:pt x="348873" y="558800"/>
                      <a:pt x="354604" y="558800"/>
                      <a:pt x="358902" y="558800"/>
                    </a:cubicBezTo>
                    <a:cubicBezTo>
                      <a:pt x="364633" y="558800"/>
                      <a:pt x="370364" y="558800"/>
                      <a:pt x="374662" y="558800"/>
                    </a:cubicBezTo>
                    <a:cubicBezTo>
                      <a:pt x="440568" y="558800"/>
                      <a:pt x="440568" y="558800"/>
                      <a:pt x="440568" y="558800"/>
                    </a:cubicBezTo>
                    <a:cubicBezTo>
                      <a:pt x="447016" y="558800"/>
                      <a:pt x="452030" y="562391"/>
                      <a:pt x="454179" y="567418"/>
                    </a:cubicBezTo>
                    <a:cubicBezTo>
                      <a:pt x="455612" y="569572"/>
                      <a:pt x="455612" y="571727"/>
                      <a:pt x="455612" y="573881"/>
                    </a:cubicBezTo>
                    <a:cubicBezTo>
                      <a:pt x="455612" y="581781"/>
                      <a:pt x="449881" y="588962"/>
                      <a:pt x="440568" y="588962"/>
                    </a:cubicBezTo>
                    <a:cubicBezTo>
                      <a:pt x="417645" y="588962"/>
                      <a:pt x="395437" y="588962"/>
                      <a:pt x="374662" y="588962"/>
                    </a:cubicBezTo>
                    <a:cubicBezTo>
                      <a:pt x="369648" y="588962"/>
                      <a:pt x="364633" y="588962"/>
                      <a:pt x="358902" y="588962"/>
                    </a:cubicBezTo>
                    <a:cubicBezTo>
                      <a:pt x="353888" y="588962"/>
                      <a:pt x="348873" y="588962"/>
                      <a:pt x="343142" y="588962"/>
                    </a:cubicBezTo>
                    <a:cubicBezTo>
                      <a:pt x="338844" y="588962"/>
                      <a:pt x="334546" y="588962"/>
                      <a:pt x="329531" y="588962"/>
                    </a:cubicBezTo>
                    <a:cubicBezTo>
                      <a:pt x="324516" y="588962"/>
                      <a:pt x="319502" y="588962"/>
                      <a:pt x="313771" y="588962"/>
                    </a:cubicBezTo>
                    <a:cubicBezTo>
                      <a:pt x="308756" y="588962"/>
                      <a:pt x="303742" y="588962"/>
                      <a:pt x="298011" y="588962"/>
                    </a:cubicBezTo>
                    <a:cubicBezTo>
                      <a:pt x="292996" y="588962"/>
                      <a:pt x="287981" y="588962"/>
                      <a:pt x="282250" y="588962"/>
                    </a:cubicBezTo>
                    <a:cubicBezTo>
                      <a:pt x="277236" y="588962"/>
                      <a:pt x="272221" y="588962"/>
                      <a:pt x="266490" y="588962"/>
                    </a:cubicBezTo>
                    <a:cubicBezTo>
                      <a:pt x="227806" y="588962"/>
                      <a:pt x="194853" y="588962"/>
                      <a:pt x="167631" y="588962"/>
                    </a:cubicBezTo>
                    <a:cubicBezTo>
                      <a:pt x="161900" y="588962"/>
                      <a:pt x="156886" y="588962"/>
                      <a:pt x="151871" y="588962"/>
                    </a:cubicBezTo>
                    <a:cubicBezTo>
                      <a:pt x="146140" y="588962"/>
                      <a:pt x="141125" y="588962"/>
                      <a:pt x="136111" y="588962"/>
                    </a:cubicBezTo>
                    <a:cubicBezTo>
                      <a:pt x="131096" y="588962"/>
                      <a:pt x="126798" y="588962"/>
                      <a:pt x="122500" y="588962"/>
                    </a:cubicBezTo>
                    <a:cubicBezTo>
                      <a:pt x="116769" y="588962"/>
                      <a:pt x="111038" y="588962"/>
                      <a:pt x="106740" y="588962"/>
                    </a:cubicBezTo>
                    <a:cubicBezTo>
                      <a:pt x="101009" y="588962"/>
                      <a:pt x="95278" y="588962"/>
                      <a:pt x="90979" y="588962"/>
                    </a:cubicBezTo>
                    <a:cubicBezTo>
                      <a:pt x="15044" y="588962"/>
                      <a:pt x="15044" y="588962"/>
                      <a:pt x="15044" y="588962"/>
                    </a:cubicBezTo>
                    <a:cubicBezTo>
                      <a:pt x="6448" y="588962"/>
                      <a:pt x="0" y="581781"/>
                      <a:pt x="0" y="573881"/>
                    </a:cubicBezTo>
                    <a:cubicBezTo>
                      <a:pt x="0" y="565982"/>
                      <a:pt x="6448" y="558800"/>
                      <a:pt x="15044" y="558800"/>
                    </a:cubicBezTo>
                    <a:close/>
                    <a:moveTo>
                      <a:pt x="601663" y="536575"/>
                    </a:moveTo>
                    <a:cubicBezTo>
                      <a:pt x="646907" y="536575"/>
                      <a:pt x="646907" y="536575"/>
                      <a:pt x="646907" y="536575"/>
                    </a:cubicBezTo>
                    <a:cubicBezTo>
                      <a:pt x="653370" y="536575"/>
                      <a:pt x="658397" y="540082"/>
                      <a:pt x="660552" y="544992"/>
                    </a:cubicBezTo>
                    <a:cubicBezTo>
                      <a:pt x="661270" y="547097"/>
                      <a:pt x="661988" y="549201"/>
                      <a:pt x="661988" y="552007"/>
                    </a:cubicBezTo>
                    <a:cubicBezTo>
                      <a:pt x="661988" y="559723"/>
                      <a:pt x="655525" y="566737"/>
                      <a:pt x="646907" y="566737"/>
                    </a:cubicBezTo>
                    <a:cubicBezTo>
                      <a:pt x="631108" y="566737"/>
                      <a:pt x="616026" y="566737"/>
                      <a:pt x="601663" y="566737"/>
                    </a:cubicBezTo>
                    <a:cubicBezTo>
                      <a:pt x="601663" y="566737"/>
                      <a:pt x="601663" y="566737"/>
                      <a:pt x="601663" y="544992"/>
                    </a:cubicBezTo>
                    <a:cubicBezTo>
                      <a:pt x="601663" y="544992"/>
                      <a:pt x="601663" y="544992"/>
                      <a:pt x="601663" y="536575"/>
                    </a:cubicBezTo>
                    <a:close/>
                    <a:moveTo>
                      <a:pt x="808038" y="512762"/>
                    </a:moveTo>
                    <a:cubicBezTo>
                      <a:pt x="853926" y="512762"/>
                      <a:pt x="853926" y="512762"/>
                      <a:pt x="853926" y="512762"/>
                    </a:cubicBezTo>
                    <a:cubicBezTo>
                      <a:pt x="863395" y="512762"/>
                      <a:pt x="869950" y="519978"/>
                      <a:pt x="869950" y="528637"/>
                    </a:cubicBezTo>
                    <a:cubicBezTo>
                      <a:pt x="869950" y="538018"/>
                      <a:pt x="863395" y="544512"/>
                      <a:pt x="853926" y="544512"/>
                    </a:cubicBezTo>
                    <a:cubicBezTo>
                      <a:pt x="838630" y="544512"/>
                      <a:pt x="823334" y="544512"/>
                      <a:pt x="808038" y="544512"/>
                    </a:cubicBezTo>
                    <a:cubicBezTo>
                      <a:pt x="808038" y="544512"/>
                      <a:pt x="808038" y="544512"/>
                      <a:pt x="808038" y="512762"/>
                    </a:cubicBezTo>
                    <a:close/>
                    <a:moveTo>
                      <a:pt x="15044" y="455612"/>
                    </a:moveTo>
                    <a:cubicBezTo>
                      <a:pt x="42266" y="455612"/>
                      <a:pt x="67339" y="455612"/>
                      <a:pt x="90979" y="455612"/>
                    </a:cubicBezTo>
                    <a:cubicBezTo>
                      <a:pt x="95994" y="455612"/>
                      <a:pt x="101009" y="455612"/>
                      <a:pt x="106740" y="455612"/>
                    </a:cubicBezTo>
                    <a:cubicBezTo>
                      <a:pt x="111754" y="455612"/>
                      <a:pt x="116769" y="455612"/>
                      <a:pt x="122500" y="455612"/>
                    </a:cubicBezTo>
                    <a:cubicBezTo>
                      <a:pt x="126798" y="455612"/>
                      <a:pt x="131096" y="455612"/>
                      <a:pt x="136111" y="455612"/>
                    </a:cubicBezTo>
                    <a:cubicBezTo>
                      <a:pt x="141125" y="455612"/>
                      <a:pt x="146140" y="455612"/>
                      <a:pt x="151871" y="455612"/>
                    </a:cubicBezTo>
                    <a:cubicBezTo>
                      <a:pt x="156886" y="455612"/>
                      <a:pt x="161900" y="455612"/>
                      <a:pt x="167631" y="455612"/>
                    </a:cubicBezTo>
                    <a:cubicBezTo>
                      <a:pt x="181958" y="455612"/>
                      <a:pt x="195570" y="455612"/>
                      <a:pt x="208464" y="455612"/>
                    </a:cubicBezTo>
                    <a:cubicBezTo>
                      <a:pt x="229955" y="455612"/>
                      <a:pt x="249297" y="455612"/>
                      <a:pt x="266490" y="455612"/>
                    </a:cubicBezTo>
                    <a:cubicBezTo>
                      <a:pt x="272221" y="455612"/>
                      <a:pt x="277236" y="455612"/>
                      <a:pt x="282250" y="455612"/>
                    </a:cubicBezTo>
                    <a:cubicBezTo>
                      <a:pt x="287981" y="455612"/>
                      <a:pt x="292996" y="455612"/>
                      <a:pt x="298011" y="455612"/>
                    </a:cubicBezTo>
                    <a:cubicBezTo>
                      <a:pt x="303742" y="455612"/>
                      <a:pt x="308756" y="455612"/>
                      <a:pt x="313771" y="455612"/>
                    </a:cubicBezTo>
                    <a:cubicBezTo>
                      <a:pt x="319502" y="455612"/>
                      <a:pt x="324516" y="455612"/>
                      <a:pt x="329531" y="455612"/>
                    </a:cubicBezTo>
                    <a:cubicBezTo>
                      <a:pt x="334546" y="455612"/>
                      <a:pt x="338844" y="455612"/>
                      <a:pt x="343142" y="455612"/>
                    </a:cubicBezTo>
                    <a:cubicBezTo>
                      <a:pt x="348873" y="455612"/>
                      <a:pt x="354604" y="455612"/>
                      <a:pt x="358902" y="455612"/>
                    </a:cubicBezTo>
                    <a:cubicBezTo>
                      <a:pt x="364633" y="455612"/>
                      <a:pt x="370364" y="455612"/>
                      <a:pt x="374662" y="455612"/>
                    </a:cubicBezTo>
                    <a:cubicBezTo>
                      <a:pt x="440568" y="455612"/>
                      <a:pt x="440568" y="455612"/>
                      <a:pt x="440568" y="455612"/>
                    </a:cubicBezTo>
                    <a:cubicBezTo>
                      <a:pt x="447016" y="455612"/>
                      <a:pt x="452030" y="459119"/>
                      <a:pt x="454179" y="464029"/>
                    </a:cubicBezTo>
                    <a:cubicBezTo>
                      <a:pt x="455612" y="466134"/>
                      <a:pt x="455612" y="468238"/>
                      <a:pt x="455612" y="471044"/>
                    </a:cubicBezTo>
                    <a:cubicBezTo>
                      <a:pt x="455612" y="478760"/>
                      <a:pt x="449881" y="485774"/>
                      <a:pt x="440568" y="485774"/>
                    </a:cubicBezTo>
                    <a:cubicBezTo>
                      <a:pt x="417645" y="485774"/>
                      <a:pt x="395437" y="485774"/>
                      <a:pt x="374662" y="485774"/>
                    </a:cubicBezTo>
                    <a:cubicBezTo>
                      <a:pt x="369648" y="485774"/>
                      <a:pt x="364633" y="485774"/>
                      <a:pt x="358902" y="485774"/>
                    </a:cubicBezTo>
                    <a:cubicBezTo>
                      <a:pt x="353888" y="485774"/>
                      <a:pt x="348873" y="485774"/>
                      <a:pt x="343142" y="485774"/>
                    </a:cubicBezTo>
                    <a:cubicBezTo>
                      <a:pt x="338844" y="485774"/>
                      <a:pt x="334546" y="485774"/>
                      <a:pt x="329531" y="485774"/>
                    </a:cubicBezTo>
                    <a:cubicBezTo>
                      <a:pt x="324516" y="485774"/>
                      <a:pt x="319502" y="485774"/>
                      <a:pt x="313771" y="485774"/>
                    </a:cubicBezTo>
                    <a:cubicBezTo>
                      <a:pt x="308756" y="485774"/>
                      <a:pt x="303742" y="485774"/>
                      <a:pt x="298011" y="485774"/>
                    </a:cubicBezTo>
                    <a:cubicBezTo>
                      <a:pt x="292996" y="485774"/>
                      <a:pt x="287981" y="485774"/>
                      <a:pt x="282250" y="485774"/>
                    </a:cubicBezTo>
                    <a:cubicBezTo>
                      <a:pt x="277236" y="485774"/>
                      <a:pt x="272221" y="485774"/>
                      <a:pt x="266490" y="485774"/>
                    </a:cubicBezTo>
                    <a:cubicBezTo>
                      <a:pt x="227806" y="485774"/>
                      <a:pt x="194853" y="485774"/>
                      <a:pt x="167631" y="485774"/>
                    </a:cubicBezTo>
                    <a:cubicBezTo>
                      <a:pt x="161900" y="485774"/>
                      <a:pt x="156886" y="485774"/>
                      <a:pt x="151871" y="485774"/>
                    </a:cubicBezTo>
                    <a:cubicBezTo>
                      <a:pt x="146140" y="485774"/>
                      <a:pt x="141125" y="485774"/>
                      <a:pt x="136111" y="485774"/>
                    </a:cubicBezTo>
                    <a:cubicBezTo>
                      <a:pt x="131096" y="485774"/>
                      <a:pt x="126798" y="485774"/>
                      <a:pt x="122500" y="485774"/>
                    </a:cubicBezTo>
                    <a:cubicBezTo>
                      <a:pt x="116769" y="485774"/>
                      <a:pt x="111038" y="485774"/>
                      <a:pt x="106740" y="485774"/>
                    </a:cubicBezTo>
                    <a:cubicBezTo>
                      <a:pt x="101009" y="485774"/>
                      <a:pt x="95278" y="485774"/>
                      <a:pt x="90979" y="485774"/>
                    </a:cubicBezTo>
                    <a:cubicBezTo>
                      <a:pt x="15044" y="485774"/>
                      <a:pt x="15044" y="485774"/>
                      <a:pt x="15044" y="485774"/>
                    </a:cubicBezTo>
                    <a:cubicBezTo>
                      <a:pt x="6448" y="485774"/>
                      <a:pt x="0" y="478760"/>
                      <a:pt x="0" y="471044"/>
                    </a:cubicBezTo>
                    <a:cubicBezTo>
                      <a:pt x="0" y="462627"/>
                      <a:pt x="6448" y="455612"/>
                      <a:pt x="15044" y="455612"/>
                    </a:cubicBezTo>
                    <a:close/>
                    <a:moveTo>
                      <a:pt x="601663" y="433387"/>
                    </a:moveTo>
                    <a:cubicBezTo>
                      <a:pt x="646907" y="433387"/>
                      <a:pt x="646907" y="433387"/>
                      <a:pt x="646907" y="433387"/>
                    </a:cubicBezTo>
                    <a:cubicBezTo>
                      <a:pt x="653370" y="433387"/>
                      <a:pt x="658397" y="436978"/>
                      <a:pt x="660552" y="442005"/>
                    </a:cubicBezTo>
                    <a:cubicBezTo>
                      <a:pt x="661270" y="444159"/>
                      <a:pt x="661988" y="446314"/>
                      <a:pt x="661988" y="448468"/>
                    </a:cubicBezTo>
                    <a:cubicBezTo>
                      <a:pt x="661988" y="456368"/>
                      <a:pt x="655525" y="463549"/>
                      <a:pt x="646907" y="463549"/>
                    </a:cubicBezTo>
                    <a:cubicBezTo>
                      <a:pt x="631108" y="463549"/>
                      <a:pt x="616026" y="463549"/>
                      <a:pt x="601663" y="463549"/>
                    </a:cubicBezTo>
                    <a:cubicBezTo>
                      <a:pt x="601663" y="463549"/>
                      <a:pt x="601663" y="463549"/>
                      <a:pt x="601663" y="442005"/>
                    </a:cubicBezTo>
                    <a:cubicBezTo>
                      <a:pt x="601663" y="442005"/>
                      <a:pt x="601663" y="442005"/>
                      <a:pt x="601663" y="433387"/>
                    </a:cubicBezTo>
                    <a:close/>
                    <a:moveTo>
                      <a:pt x="808038" y="411162"/>
                    </a:moveTo>
                    <a:cubicBezTo>
                      <a:pt x="853926" y="411162"/>
                      <a:pt x="853926" y="411162"/>
                      <a:pt x="853926" y="411162"/>
                    </a:cubicBezTo>
                    <a:cubicBezTo>
                      <a:pt x="863395" y="411162"/>
                      <a:pt x="869950" y="418177"/>
                      <a:pt x="869950" y="425892"/>
                    </a:cubicBezTo>
                    <a:cubicBezTo>
                      <a:pt x="869950" y="434310"/>
                      <a:pt x="863395" y="441324"/>
                      <a:pt x="853926" y="441324"/>
                    </a:cubicBezTo>
                    <a:cubicBezTo>
                      <a:pt x="838630" y="441324"/>
                      <a:pt x="823334" y="441324"/>
                      <a:pt x="808038" y="441324"/>
                    </a:cubicBezTo>
                    <a:cubicBezTo>
                      <a:pt x="808038" y="441324"/>
                      <a:pt x="808038" y="441324"/>
                      <a:pt x="808038" y="411162"/>
                    </a:cubicBezTo>
                    <a:close/>
                    <a:moveTo>
                      <a:pt x="15044" y="352425"/>
                    </a:moveTo>
                    <a:cubicBezTo>
                      <a:pt x="42266" y="352425"/>
                      <a:pt x="67339" y="352425"/>
                      <a:pt x="90979" y="352425"/>
                    </a:cubicBezTo>
                    <a:cubicBezTo>
                      <a:pt x="95994" y="352425"/>
                      <a:pt x="101009" y="352425"/>
                      <a:pt x="106740" y="352425"/>
                    </a:cubicBezTo>
                    <a:cubicBezTo>
                      <a:pt x="111754" y="352425"/>
                      <a:pt x="116769" y="352425"/>
                      <a:pt x="122500" y="352425"/>
                    </a:cubicBezTo>
                    <a:cubicBezTo>
                      <a:pt x="126798" y="352425"/>
                      <a:pt x="131096" y="352425"/>
                      <a:pt x="136111" y="352425"/>
                    </a:cubicBezTo>
                    <a:cubicBezTo>
                      <a:pt x="141125" y="352425"/>
                      <a:pt x="146140" y="352425"/>
                      <a:pt x="151871" y="352425"/>
                    </a:cubicBezTo>
                    <a:cubicBezTo>
                      <a:pt x="156886" y="352425"/>
                      <a:pt x="161900" y="352425"/>
                      <a:pt x="167631" y="352425"/>
                    </a:cubicBezTo>
                    <a:cubicBezTo>
                      <a:pt x="181958" y="352425"/>
                      <a:pt x="195570" y="352425"/>
                      <a:pt x="209181" y="352425"/>
                    </a:cubicBezTo>
                    <a:cubicBezTo>
                      <a:pt x="229955" y="352425"/>
                      <a:pt x="249297" y="352425"/>
                      <a:pt x="266490" y="352425"/>
                    </a:cubicBezTo>
                    <a:cubicBezTo>
                      <a:pt x="272221" y="352425"/>
                      <a:pt x="277236" y="352425"/>
                      <a:pt x="282250" y="352425"/>
                    </a:cubicBezTo>
                    <a:cubicBezTo>
                      <a:pt x="287981" y="352425"/>
                      <a:pt x="292996" y="352425"/>
                      <a:pt x="298011" y="352425"/>
                    </a:cubicBezTo>
                    <a:cubicBezTo>
                      <a:pt x="303742" y="352425"/>
                      <a:pt x="308756" y="352425"/>
                      <a:pt x="313771" y="352425"/>
                    </a:cubicBezTo>
                    <a:cubicBezTo>
                      <a:pt x="319502" y="352425"/>
                      <a:pt x="324516" y="352425"/>
                      <a:pt x="329531" y="352425"/>
                    </a:cubicBezTo>
                    <a:cubicBezTo>
                      <a:pt x="334546" y="352425"/>
                      <a:pt x="338844" y="352425"/>
                      <a:pt x="343142" y="352425"/>
                    </a:cubicBezTo>
                    <a:cubicBezTo>
                      <a:pt x="348873" y="352425"/>
                      <a:pt x="354604" y="352425"/>
                      <a:pt x="358902" y="352425"/>
                    </a:cubicBezTo>
                    <a:cubicBezTo>
                      <a:pt x="364633" y="352425"/>
                      <a:pt x="370364" y="352425"/>
                      <a:pt x="374662" y="352425"/>
                    </a:cubicBezTo>
                    <a:cubicBezTo>
                      <a:pt x="440568" y="352425"/>
                      <a:pt x="440568" y="352425"/>
                      <a:pt x="440568" y="352425"/>
                    </a:cubicBezTo>
                    <a:cubicBezTo>
                      <a:pt x="447016" y="352425"/>
                      <a:pt x="452030" y="356033"/>
                      <a:pt x="454179" y="361084"/>
                    </a:cubicBezTo>
                    <a:cubicBezTo>
                      <a:pt x="455612" y="363249"/>
                      <a:pt x="455612" y="366135"/>
                      <a:pt x="455612" y="368300"/>
                    </a:cubicBezTo>
                    <a:cubicBezTo>
                      <a:pt x="455612" y="376959"/>
                      <a:pt x="449881" y="384175"/>
                      <a:pt x="440568" y="384175"/>
                    </a:cubicBezTo>
                    <a:cubicBezTo>
                      <a:pt x="417645" y="384175"/>
                      <a:pt x="395437" y="384175"/>
                      <a:pt x="374662" y="384175"/>
                    </a:cubicBezTo>
                    <a:cubicBezTo>
                      <a:pt x="369648" y="384175"/>
                      <a:pt x="364633" y="384175"/>
                      <a:pt x="358902" y="384175"/>
                    </a:cubicBezTo>
                    <a:cubicBezTo>
                      <a:pt x="353888" y="384175"/>
                      <a:pt x="348873" y="384175"/>
                      <a:pt x="343142" y="384175"/>
                    </a:cubicBezTo>
                    <a:cubicBezTo>
                      <a:pt x="338844" y="384175"/>
                      <a:pt x="334546" y="384175"/>
                      <a:pt x="329531" y="384175"/>
                    </a:cubicBezTo>
                    <a:cubicBezTo>
                      <a:pt x="324516" y="384175"/>
                      <a:pt x="319502" y="384175"/>
                      <a:pt x="313771" y="384175"/>
                    </a:cubicBezTo>
                    <a:cubicBezTo>
                      <a:pt x="308756" y="384175"/>
                      <a:pt x="303742" y="384175"/>
                      <a:pt x="298011" y="384175"/>
                    </a:cubicBezTo>
                    <a:cubicBezTo>
                      <a:pt x="292996" y="384175"/>
                      <a:pt x="287981" y="384175"/>
                      <a:pt x="282250" y="384175"/>
                    </a:cubicBezTo>
                    <a:cubicBezTo>
                      <a:pt x="277236" y="384175"/>
                      <a:pt x="272221" y="384175"/>
                      <a:pt x="266490" y="384175"/>
                    </a:cubicBezTo>
                    <a:cubicBezTo>
                      <a:pt x="227806" y="384175"/>
                      <a:pt x="194853" y="384175"/>
                      <a:pt x="167631" y="384175"/>
                    </a:cubicBezTo>
                    <a:cubicBezTo>
                      <a:pt x="161900" y="384175"/>
                      <a:pt x="156886" y="384175"/>
                      <a:pt x="151871" y="384175"/>
                    </a:cubicBezTo>
                    <a:cubicBezTo>
                      <a:pt x="146140" y="384175"/>
                      <a:pt x="141125" y="384175"/>
                      <a:pt x="136111" y="384175"/>
                    </a:cubicBezTo>
                    <a:cubicBezTo>
                      <a:pt x="131096" y="384175"/>
                      <a:pt x="126798" y="384175"/>
                      <a:pt x="122500" y="384175"/>
                    </a:cubicBezTo>
                    <a:cubicBezTo>
                      <a:pt x="116769" y="384175"/>
                      <a:pt x="111038" y="384175"/>
                      <a:pt x="106740" y="384175"/>
                    </a:cubicBezTo>
                    <a:cubicBezTo>
                      <a:pt x="101009" y="384175"/>
                      <a:pt x="95278" y="384175"/>
                      <a:pt x="90979" y="384175"/>
                    </a:cubicBezTo>
                    <a:cubicBezTo>
                      <a:pt x="15044" y="384175"/>
                      <a:pt x="15044" y="384175"/>
                      <a:pt x="15044" y="384175"/>
                    </a:cubicBezTo>
                    <a:cubicBezTo>
                      <a:pt x="6448" y="384175"/>
                      <a:pt x="0" y="376959"/>
                      <a:pt x="0" y="368300"/>
                    </a:cubicBezTo>
                    <a:cubicBezTo>
                      <a:pt x="0" y="359641"/>
                      <a:pt x="6448" y="352425"/>
                      <a:pt x="15044" y="352425"/>
                    </a:cubicBezTo>
                    <a:close/>
                    <a:moveTo>
                      <a:pt x="601663" y="330200"/>
                    </a:moveTo>
                    <a:cubicBezTo>
                      <a:pt x="646907" y="330200"/>
                      <a:pt x="646907" y="330200"/>
                      <a:pt x="646907" y="330200"/>
                    </a:cubicBezTo>
                    <a:cubicBezTo>
                      <a:pt x="653370" y="330200"/>
                      <a:pt x="658397" y="333707"/>
                      <a:pt x="660552" y="338617"/>
                    </a:cubicBezTo>
                    <a:cubicBezTo>
                      <a:pt x="661270" y="340722"/>
                      <a:pt x="661988" y="342826"/>
                      <a:pt x="661988" y="344930"/>
                    </a:cubicBezTo>
                    <a:cubicBezTo>
                      <a:pt x="661988" y="353348"/>
                      <a:pt x="655525" y="360362"/>
                      <a:pt x="646907" y="360362"/>
                    </a:cubicBezTo>
                    <a:cubicBezTo>
                      <a:pt x="631108" y="360362"/>
                      <a:pt x="616026" y="360362"/>
                      <a:pt x="601663" y="360362"/>
                    </a:cubicBezTo>
                    <a:cubicBezTo>
                      <a:pt x="601663" y="360362"/>
                      <a:pt x="601663" y="360362"/>
                      <a:pt x="601663" y="338617"/>
                    </a:cubicBezTo>
                    <a:cubicBezTo>
                      <a:pt x="601663" y="338617"/>
                      <a:pt x="601663" y="338617"/>
                      <a:pt x="601663" y="330200"/>
                    </a:cubicBezTo>
                    <a:close/>
                    <a:moveTo>
                      <a:pt x="808038" y="307975"/>
                    </a:moveTo>
                    <a:cubicBezTo>
                      <a:pt x="853926" y="307975"/>
                      <a:pt x="853926" y="307975"/>
                      <a:pt x="853926" y="307975"/>
                    </a:cubicBezTo>
                    <a:cubicBezTo>
                      <a:pt x="863395" y="307975"/>
                      <a:pt x="869950" y="315156"/>
                      <a:pt x="869950" y="323056"/>
                    </a:cubicBezTo>
                    <a:cubicBezTo>
                      <a:pt x="869950" y="330955"/>
                      <a:pt x="863395" y="338137"/>
                      <a:pt x="853926" y="338137"/>
                    </a:cubicBezTo>
                    <a:cubicBezTo>
                      <a:pt x="838630" y="338137"/>
                      <a:pt x="823334" y="338137"/>
                      <a:pt x="808038" y="338137"/>
                    </a:cubicBezTo>
                    <a:cubicBezTo>
                      <a:pt x="808038" y="338137"/>
                      <a:pt x="808038" y="338137"/>
                      <a:pt x="808038" y="307975"/>
                    </a:cubicBezTo>
                    <a:close/>
                    <a:moveTo>
                      <a:pt x="15044" y="249237"/>
                    </a:moveTo>
                    <a:cubicBezTo>
                      <a:pt x="42266" y="249237"/>
                      <a:pt x="67339" y="249237"/>
                      <a:pt x="90979" y="249237"/>
                    </a:cubicBezTo>
                    <a:cubicBezTo>
                      <a:pt x="95994" y="249237"/>
                      <a:pt x="101009" y="249237"/>
                      <a:pt x="106740" y="249237"/>
                    </a:cubicBezTo>
                    <a:cubicBezTo>
                      <a:pt x="111754" y="249237"/>
                      <a:pt x="116769" y="249237"/>
                      <a:pt x="122500" y="249237"/>
                    </a:cubicBezTo>
                    <a:cubicBezTo>
                      <a:pt x="126798" y="249237"/>
                      <a:pt x="131096" y="249237"/>
                      <a:pt x="136111" y="249237"/>
                    </a:cubicBezTo>
                    <a:cubicBezTo>
                      <a:pt x="141125" y="249237"/>
                      <a:pt x="146140" y="249237"/>
                      <a:pt x="151871" y="249237"/>
                    </a:cubicBezTo>
                    <a:cubicBezTo>
                      <a:pt x="156886" y="249237"/>
                      <a:pt x="161900" y="249237"/>
                      <a:pt x="167631" y="249237"/>
                    </a:cubicBezTo>
                    <a:cubicBezTo>
                      <a:pt x="181958" y="249237"/>
                      <a:pt x="195570" y="249237"/>
                      <a:pt x="209181" y="249237"/>
                    </a:cubicBezTo>
                    <a:cubicBezTo>
                      <a:pt x="229955" y="249237"/>
                      <a:pt x="249297" y="249237"/>
                      <a:pt x="266490" y="249237"/>
                    </a:cubicBezTo>
                    <a:cubicBezTo>
                      <a:pt x="272221" y="249237"/>
                      <a:pt x="277236" y="249237"/>
                      <a:pt x="282250" y="249237"/>
                    </a:cubicBezTo>
                    <a:cubicBezTo>
                      <a:pt x="287981" y="249237"/>
                      <a:pt x="292996" y="249237"/>
                      <a:pt x="298011" y="249237"/>
                    </a:cubicBezTo>
                    <a:cubicBezTo>
                      <a:pt x="303742" y="249237"/>
                      <a:pt x="308756" y="249237"/>
                      <a:pt x="313771" y="249237"/>
                    </a:cubicBezTo>
                    <a:cubicBezTo>
                      <a:pt x="319502" y="249237"/>
                      <a:pt x="324516" y="249237"/>
                      <a:pt x="329531" y="249237"/>
                    </a:cubicBezTo>
                    <a:cubicBezTo>
                      <a:pt x="334546" y="249237"/>
                      <a:pt x="338844" y="249237"/>
                      <a:pt x="343142" y="249237"/>
                    </a:cubicBezTo>
                    <a:cubicBezTo>
                      <a:pt x="348873" y="249237"/>
                      <a:pt x="354604" y="249237"/>
                      <a:pt x="358902" y="249237"/>
                    </a:cubicBezTo>
                    <a:cubicBezTo>
                      <a:pt x="364633" y="249237"/>
                      <a:pt x="370364" y="249237"/>
                      <a:pt x="374662" y="249237"/>
                    </a:cubicBezTo>
                    <a:cubicBezTo>
                      <a:pt x="440568" y="249237"/>
                      <a:pt x="440568" y="249237"/>
                      <a:pt x="440568" y="249237"/>
                    </a:cubicBezTo>
                    <a:cubicBezTo>
                      <a:pt x="447016" y="249237"/>
                      <a:pt x="452030" y="252190"/>
                      <a:pt x="454179" y="258097"/>
                    </a:cubicBezTo>
                    <a:cubicBezTo>
                      <a:pt x="455612" y="260312"/>
                      <a:pt x="455612" y="262528"/>
                      <a:pt x="455612" y="265481"/>
                    </a:cubicBezTo>
                    <a:cubicBezTo>
                      <a:pt x="455612" y="273603"/>
                      <a:pt x="449881" y="280987"/>
                      <a:pt x="440568" y="280987"/>
                    </a:cubicBezTo>
                    <a:cubicBezTo>
                      <a:pt x="417645" y="280987"/>
                      <a:pt x="395437" y="280987"/>
                      <a:pt x="374662" y="280987"/>
                    </a:cubicBezTo>
                    <a:cubicBezTo>
                      <a:pt x="369648" y="280987"/>
                      <a:pt x="364633" y="280987"/>
                      <a:pt x="358902" y="280987"/>
                    </a:cubicBezTo>
                    <a:cubicBezTo>
                      <a:pt x="353888" y="280987"/>
                      <a:pt x="348873" y="280987"/>
                      <a:pt x="343142" y="280987"/>
                    </a:cubicBezTo>
                    <a:cubicBezTo>
                      <a:pt x="338844" y="280987"/>
                      <a:pt x="334546" y="280987"/>
                      <a:pt x="329531" y="280987"/>
                    </a:cubicBezTo>
                    <a:cubicBezTo>
                      <a:pt x="324516" y="280987"/>
                      <a:pt x="319502" y="280987"/>
                      <a:pt x="313771" y="280987"/>
                    </a:cubicBezTo>
                    <a:cubicBezTo>
                      <a:pt x="308756" y="280987"/>
                      <a:pt x="303742" y="280987"/>
                      <a:pt x="298011" y="280987"/>
                    </a:cubicBezTo>
                    <a:cubicBezTo>
                      <a:pt x="292996" y="280987"/>
                      <a:pt x="287981" y="280987"/>
                      <a:pt x="282250" y="280987"/>
                    </a:cubicBezTo>
                    <a:cubicBezTo>
                      <a:pt x="277236" y="280987"/>
                      <a:pt x="272221" y="280987"/>
                      <a:pt x="266490" y="280987"/>
                    </a:cubicBezTo>
                    <a:cubicBezTo>
                      <a:pt x="227806" y="280987"/>
                      <a:pt x="194853" y="280987"/>
                      <a:pt x="167631" y="280987"/>
                    </a:cubicBezTo>
                    <a:cubicBezTo>
                      <a:pt x="161900" y="280987"/>
                      <a:pt x="156886" y="280987"/>
                      <a:pt x="151871" y="280987"/>
                    </a:cubicBezTo>
                    <a:cubicBezTo>
                      <a:pt x="146140" y="280987"/>
                      <a:pt x="141125" y="280987"/>
                      <a:pt x="136111" y="280987"/>
                    </a:cubicBezTo>
                    <a:cubicBezTo>
                      <a:pt x="131096" y="280987"/>
                      <a:pt x="126798" y="280987"/>
                      <a:pt x="122500" y="280987"/>
                    </a:cubicBezTo>
                    <a:cubicBezTo>
                      <a:pt x="116769" y="280987"/>
                      <a:pt x="111038" y="280987"/>
                      <a:pt x="106740" y="280987"/>
                    </a:cubicBezTo>
                    <a:cubicBezTo>
                      <a:pt x="101009" y="280987"/>
                      <a:pt x="95278" y="280987"/>
                      <a:pt x="90979" y="280987"/>
                    </a:cubicBezTo>
                    <a:cubicBezTo>
                      <a:pt x="15044" y="280987"/>
                      <a:pt x="15044" y="280987"/>
                      <a:pt x="15044" y="280987"/>
                    </a:cubicBezTo>
                    <a:cubicBezTo>
                      <a:pt x="6448" y="280987"/>
                      <a:pt x="0" y="273603"/>
                      <a:pt x="0" y="265481"/>
                    </a:cubicBezTo>
                    <a:cubicBezTo>
                      <a:pt x="0" y="255882"/>
                      <a:pt x="6448" y="249237"/>
                      <a:pt x="15044" y="249237"/>
                    </a:cubicBezTo>
                    <a:close/>
                    <a:moveTo>
                      <a:pt x="601663" y="227012"/>
                    </a:moveTo>
                    <a:cubicBezTo>
                      <a:pt x="646907" y="227012"/>
                      <a:pt x="646907" y="227012"/>
                      <a:pt x="646907" y="227012"/>
                    </a:cubicBezTo>
                    <a:cubicBezTo>
                      <a:pt x="653370" y="227012"/>
                      <a:pt x="658397" y="230620"/>
                      <a:pt x="660552" y="235671"/>
                    </a:cubicBezTo>
                    <a:cubicBezTo>
                      <a:pt x="661270" y="237836"/>
                      <a:pt x="661988" y="240001"/>
                      <a:pt x="661988" y="242887"/>
                    </a:cubicBezTo>
                    <a:cubicBezTo>
                      <a:pt x="661988" y="251546"/>
                      <a:pt x="655525" y="258762"/>
                      <a:pt x="646907" y="258762"/>
                    </a:cubicBezTo>
                    <a:cubicBezTo>
                      <a:pt x="631108" y="258762"/>
                      <a:pt x="616026" y="258762"/>
                      <a:pt x="601663" y="258762"/>
                    </a:cubicBezTo>
                    <a:cubicBezTo>
                      <a:pt x="601663" y="258762"/>
                      <a:pt x="601663" y="258762"/>
                      <a:pt x="601663" y="235671"/>
                    </a:cubicBezTo>
                    <a:cubicBezTo>
                      <a:pt x="601663" y="235671"/>
                      <a:pt x="601663" y="235671"/>
                      <a:pt x="601663" y="227012"/>
                    </a:cubicBezTo>
                    <a:close/>
                    <a:moveTo>
                      <a:pt x="808038" y="204787"/>
                    </a:moveTo>
                    <a:cubicBezTo>
                      <a:pt x="853926" y="204787"/>
                      <a:pt x="853926" y="204787"/>
                      <a:pt x="853926" y="204787"/>
                    </a:cubicBezTo>
                    <a:cubicBezTo>
                      <a:pt x="863395" y="204787"/>
                      <a:pt x="869950" y="211100"/>
                      <a:pt x="869950" y="219517"/>
                    </a:cubicBezTo>
                    <a:cubicBezTo>
                      <a:pt x="869950" y="227934"/>
                      <a:pt x="863395" y="234949"/>
                      <a:pt x="853926" y="234949"/>
                    </a:cubicBezTo>
                    <a:cubicBezTo>
                      <a:pt x="838630" y="234949"/>
                      <a:pt x="823334" y="234949"/>
                      <a:pt x="808038" y="234949"/>
                    </a:cubicBezTo>
                    <a:cubicBezTo>
                      <a:pt x="808038" y="234949"/>
                      <a:pt x="808038" y="234949"/>
                      <a:pt x="808038" y="204787"/>
                    </a:cubicBezTo>
                    <a:close/>
                    <a:moveTo>
                      <a:pt x="601663" y="125412"/>
                    </a:moveTo>
                    <a:cubicBezTo>
                      <a:pt x="646907" y="125412"/>
                      <a:pt x="646907" y="125412"/>
                      <a:pt x="646907" y="125412"/>
                    </a:cubicBezTo>
                    <a:cubicBezTo>
                      <a:pt x="653370" y="125412"/>
                      <a:pt x="658397" y="128218"/>
                      <a:pt x="660552" y="133829"/>
                    </a:cubicBezTo>
                    <a:cubicBezTo>
                      <a:pt x="661270" y="135934"/>
                      <a:pt x="661988" y="138038"/>
                      <a:pt x="661988" y="140142"/>
                    </a:cubicBezTo>
                    <a:cubicBezTo>
                      <a:pt x="661988" y="148559"/>
                      <a:pt x="655525" y="155574"/>
                      <a:pt x="646907" y="155574"/>
                    </a:cubicBezTo>
                    <a:cubicBezTo>
                      <a:pt x="631108" y="155574"/>
                      <a:pt x="616026" y="155574"/>
                      <a:pt x="601663" y="155574"/>
                    </a:cubicBezTo>
                    <a:cubicBezTo>
                      <a:pt x="601663" y="155574"/>
                      <a:pt x="601663" y="155574"/>
                      <a:pt x="601663" y="133829"/>
                    </a:cubicBezTo>
                    <a:cubicBezTo>
                      <a:pt x="601663" y="133829"/>
                      <a:pt x="601663" y="133829"/>
                      <a:pt x="601663" y="125412"/>
                    </a:cubicBezTo>
                    <a:close/>
                    <a:moveTo>
                      <a:pt x="808038" y="101600"/>
                    </a:moveTo>
                    <a:cubicBezTo>
                      <a:pt x="853926" y="101600"/>
                      <a:pt x="853926" y="101600"/>
                      <a:pt x="853926" y="101600"/>
                    </a:cubicBezTo>
                    <a:cubicBezTo>
                      <a:pt x="863395" y="101600"/>
                      <a:pt x="869950" y="108816"/>
                      <a:pt x="869950" y="117475"/>
                    </a:cubicBezTo>
                    <a:cubicBezTo>
                      <a:pt x="869950" y="126134"/>
                      <a:pt x="863395" y="133350"/>
                      <a:pt x="853926" y="133350"/>
                    </a:cubicBezTo>
                    <a:cubicBezTo>
                      <a:pt x="838630" y="133350"/>
                      <a:pt x="823334" y="133350"/>
                      <a:pt x="808038" y="133350"/>
                    </a:cubicBezTo>
                    <a:cubicBezTo>
                      <a:pt x="808038" y="133350"/>
                      <a:pt x="808038" y="133350"/>
                      <a:pt x="808038" y="101600"/>
                    </a:cubicBezTo>
                    <a:close/>
                    <a:moveTo>
                      <a:pt x="808038" y="0"/>
                    </a:moveTo>
                    <a:cubicBezTo>
                      <a:pt x="853926" y="0"/>
                      <a:pt x="853926" y="0"/>
                      <a:pt x="853926" y="0"/>
                    </a:cubicBezTo>
                    <a:cubicBezTo>
                      <a:pt x="863395" y="0"/>
                      <a:pt x="869950" y="6313"/>
                      <a:pt x="869950" y="14730"/>
                    </a:cubicBezTo>
                    <a:cubicBezTo>
                      <a:pt x="869950" y="23147"/>
                      <a:pt x="863395" y="30162"/>
                      <a:pt x="853926" y="30162"/>
                    </a:cubicBezTo>
                    <a:cubicBezTo>
                      <a:pt x="838630" y="30162"/>
                      <a:pt x="823334" y="30162"/>
                      <a:pt x="808038" y="30162"/>
                    </a:cubicBezTo>
                    <a:cubicBezTo>
                      <a:pt x="808038" y="30162"/>
                      <a:pt x="808038" y="30162"/>
                      <a:pt x="8080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94" name="TextBox 93"/>
          <p:cNvSpPr txBox="1"/>
          <p:nvPr/>
        </p:nvSpPr>
        <p:spPr>
          <a:xfrm>
            <a:off x="8722028" y="3815029"/>
            <a:ext cx="2286000" cy="1089529"/>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Share: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send.bcg&gt;2Mb</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Share link on email with explanations as needed</a:t>
            </a:r>
          </a:p>
        </p:txBody>
      </p:sp>
      <p:grpSp>
        <p:nvGrpSpPr>
          <p:cNvPr id="95" name="bcgBugs_Email"/>
          <p:cNvGrpSpPr>
            <a:grpSpLocks noChangeAspect="1"/>
          </p:cNvGrpSpPr>
          <p:nvPr/>
        </p:nvGrpSpPr>
        <p:grpSpPr bwMode="auto">
          <a:xfrm>
            <a:off x="7489833" y="4011736"/>
            <a:ext cx="929117" cy="930026"/>
            <a:chOff x="2818" y="1137"/>
            <a:chExt cx="2044" cy="2046"/>
          </a:xfrm>
        </p:grpSpPr>
        <p:sp>
          <p:nvSpPr>
            <p:cNvPr id="96"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
            <p:cNvSpPr>
              <a:spLocks noEditPoints="1"/>
            </p:cNvSpPr>
            <p:nvPr/>
          </p:nvSpPr>
          <p:spPr bwMode="auto">
            <a:xfrm>
              <a:off x="2941" y="1512"/>
              <a:ext cx="1800" cy="1298"/>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 name="TextBox 97"/>
          <p:cNvSpPr txBox="1"/>
          <p:nvPr/>
        </p:nvSpPr>
        <p:spPr>
          <a:xfrm>
            <a:off x="1250692" y="1627606"/>
            <a:ext cx="2286000" cy="108952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ommunication: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Slack channel</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Ensure you have Slack on mobile device</a:t>
            </a:r>
          </a:p>
        </p:txBody>
      </p:sp>
      <p:pic>
        <p:nvPicPr>
          <p:cNvPr id="4" name="Picture 3"/>
          <p:cNvPicPr>
            <a:picLocks noChangeAspect="1"/>
          </p:cNvPicPr>
          <p:nvPr/>
        </p:nvPicPr>
        <p:blipFill>
          <a:blip r:embed="rId7"/>
          <a:stretch>
            <a:fillRect/>
          </a:stretch>
        </p:blipFill>
        <p:spPr>
          <a:xfrm>
            <a:off x="3866629" y="1971191"/>
            <a:ext cx="721631" cy="711692"/>
          </a:xfrm>
          <a:prstGeom prst="rect">
            <a:avLst/>
          </a:prstGeom>
        </p:spPr>
      </p:pic>
      <p:sp>
        <p:nvSpPr>
          <p:cNvPr id="99" name="TextBox 98"/>
          <p:cNvSpPr txBox="1"/>
          <p:nvPr/>
        </p:nvSpPr>
        <p:spPr>
          <a:xfrm>
            <a:off x="1251321" y="3815029"/>
            <a:ext cx="228600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heck-in Call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this as a platform to clear any doubt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Request for call with SPOC/expert if needed</a:t>
            </a:r>
          </a:p>
        </p:txBody>
      </p:sp>
      <p:grpSp>
        <p:nvGrpSpPr>
          <p:cNvPr id="100" name="Group 99"/>
          <p:cNvGrpSpPr>
            <a:grpSpLocks noChangeAspect="1"/>
          </p:cNvGrpSpPr>
          <p:nvPr/>
        </p:nvGrpSpPr>
        <p:grpSpPr>
          <a:xfrm>
            <a:off x="5664383" y="5143271"/>
            <a:ext cx="863231" cy="863231"/>
            <a:chOff x="5273040" y="2605278"/>
            <a:chExt cx="1645920" cy="1645920"/>
          </a:xfrm>
        </p:grpSpPr>
        <p:sp>
          <p:nvSpPr>
            <p:cNvPr id="101" name="AutoShape 3"/>
            <p:cNvSpPr>
              <a:spLocks noChangeAspect="1" noChangeArrowheads="1" noTextEdit="1"/>
            </p:cNvSpPr>
            <p:nvPr/>
          </p:nvSpPr>
          <p:spPr bwMode="auto">
            <a:xfrm>
              <a:off x="527304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2" name="Group 101"/>
            <p:cNvGrpSpPr/>
            <p:nvPr/>
          </p:nvGrpSpPr>
          <p:grpSpPr>
            <a:xfrm>
              <a:off x="5611749" y="2775204"/>
              <a:ext cx="968502" cy="1306068"/>
              <a:chOff x="5611749" y="2775204"/>
              <a:chExt cx="968502" cy="1306068"/>
            </a:xfrm>
          </p:grpSpPr>
          <p:sp>
            <p:nvSpPr>
              <p:cNvPr id="103" name="Freeform 102"/>
              <p:cNvSpPr>
                <a:spLocks/>
              </p:cNvSpPr>
              <p:nvPr/>
            </p:nvSpPr>
            <p:spPr bwMode="auto">
              <a:xfrm>
                <a:off x="5611749" y="2775204"/>
                <a:ext cx="968502" cy="1306068"/>
              </a:xfrm>
              <a:custGeom>
                <a:avLst/>
                <a:gdLst>
                  <a:gd name="connsiteX0" fmla="*/ 1511300 w 4035425"/>
                  <a:gd name="connsiteY0" fmla="*/ 4924425 h 5441950"/>
                  <a:gd name="connsiteX1" fmla="*/ 2020888 w 4035425"/>
                  <a:gd name="connsiteY1" fmla="*/ 4924425 h 5441950"/>
                  <a:gd name="connsiteX2" fmla="*/ 2530475 w 4035425"/>
                  <a:gd name="connsiteY2" fmla="*/ 4924425 h 5441950"/>
                  <a:gd name="connsiteX3" fmla="*/ 2020888 w 4035425"/>
                  <a:gd name="connsiteY3" fmla="*/ 5441950 h 5441950"/>
                  <a:gd name="connsiteX4" fmla="*/ 1511300 w 4035425"/>
                  <a:gd name="connsiteY4" fmla="*/ 4924425 h 5441950"/>
                  <a:gd name="connsiteX5" fmla="*/ 119062 w 4035425"/>
                  <a:gd name="connsiteY5" fmla="*/ 4500563 h 5441950"/>
                  <a:gd name="connsiteX6" fmla="*/ 119062 w 4035425"/>
                  <a:gd name="connsiteY6" fmla="*/ 4711701 h 5441950"/>
                  <a:gd name="connsiteX7" fmla="*/ 3916362 w 4035425"/>
                  <a:gd name="connsiteY7" fmla="*/ 4711701 h 5441950"/>
                  <a:gd name="connsiteX8" fmla="*/ 3916362 w 4035425"/>
                  <a:gd name="connsiteY8" fmla="*/ 4500563 h 5441950"/>
                  <a:gd name="connsiteX9" fmla="*/ 119062 w 4035425"/>
                  <a:gd name="connsiteY9" fmla="*/ 4500563 h 5441950"/>
                  <a:gd name="connsiteX10" fmla="*/ 113087 w 4035425"/>
                  <a:gd name="connsiteY10" fmla="*/ 4384675 h 5441950"/>
                  <a:gd name="connsiteX11" fmla="*/ 3922338 w 4035425"/>
                  <a:gd name="connsiteY11" fmla="*/ 4384675 h 5441950"/>
                  <a:gd name="connsiteX12" fmla="*/ 4035425 w 4035425"/>
                  <a:gd name="connsiteY12" fmla="*/ 4497684 h 5441950"/>
                  <a:gd name="connsiteX13" fmla="*/ 4035425 w 4035425"/>
                  <a:gd name="connsiteY13" fmla="*/ 4714780 h 5441950"/>
                  <a:gd name="connsiteX14" fmla="*/ 3922338 w 4035425"/>
                  <a:gd name="connsiteY14" fmla="*/ 4830763 h 5441950"/>
                  <a:gd name="connsiteX15" fmla="*/ 113087 w 4035425"/>
                  <a:gd name="connsiteY15" fmla="*/ 4830763 h 5441950"/>
                  <a:gd name="connsiteX16" fmla="*/ 0 w 4035425"/>
                  <a:gd name="connsiteY16" fmla="*/ 4714780 h 5441950"/>
                  <a:gd name="connsiteX17" fmla="*/ 0 w 4035425"/>
                  <a:gd name="connsiteY17" fmla="*/ 4497684 h 5441950"/>
                  <a:gd name="connsiteX18" fmla="*/ 113087 w 4035425"/>
                  <a:gd name="connsiteY18" fmla="*/ 4384675 h 5441950"/>
                  <a:gd name="connsiteX19" fmla="*/ 2020676 w 4035425"/>
                  <a:gd name="connsiteY19" fmla="*/ 611188 h 5441950"/>
                  <a:gd name="connsiteX20" fmla="*/ 2151062 w 4035425"/>
                  <a:gd name="connsiteY20" fmla="*/ 723901 h 5441950"/>
                  <a:gd name="connsiteX21" fmla="*/ 2026602 w 4035425"/>
                  <a:gd name="connsiteY21" fmla="*/ 715003 h 5441950"/>
                  <a:gd name="connsiteX22" fmla="*/ 1884362 w 4035425"/>
                  <a:gd name="connsiteY22" fmla="*/ 723901 h 5441950"/>
                  <a:gd name="connsiteX23" fmla="*/ 2020676 w 4035425"/>
                  <a:gd name="connsiteY23" fmla="*/ 611188 h 5441950"/>
                  <a:gd name="connsiteX24" fmla="*/ 2023666 w 4035425"/>
                  <a:gd name="connsiteY24" fmla="*/ 119063 h 5441950"/>
                  <a:gd name="connsiteX25" fmla="*/ 1392566 w 4035425"/>
                  <a:gd name="connsiteY25" fmla="*/ 747303 h 5441950"/>
                  <a:gd name="connsiteX26" fmla="*/ 1413404 w 4035425"/>
                  <a:gd name="connsiteY26" fmla="*/ 902130 h 5441950"/>
                  <a:gd name="connsiteX27" fmla="*/ 1398519 w 4035425"/>
                  <a:gd name="connsiteY27" fmla="*/ 908085 h 5441950"/>
                  <a:gd name="connsiteX28" fmla="*/ 1395543 w 4035425"/>
                  <a:gd name="connsiteY28" fmla="*/ 911062 h 5441950"/>
                  <a:gd name="connsiteX29" fmla="*/ 907333 w 4035425"/>
                  <a:gd name="connsiteY29" fmla="*/ 1470821 h 5441950"/>
                  <a:gd name="connsiteX30" fmla="*/ 526291 w 4035425"/>
                  <a:gd name="connsiteY30" fmla="*/ 2888082 h 5441950"/>
                  <a:gd name="connsiteX31" fmla="*/ 273256 w 4035425"/>
                  <a:gd name="connsiteY31" fmla="*/ 3998667 h 5441950"/>
                  <a:gd name="connsiteX32" fmla="*/ 204787 w 4035425"/>
                  <a:gd name="connsiteY32" fmla="*/ 4162426 h 5441950"/>
                  <a:gd name="connsiteX33" fmla="*/ 3830637 w 4035425"/>
                  <a:gd name="connsiteY33" fmla="*/ 4162426 h 5441950"/>
                  <a:gd name="connsiteX34" fmla="*/ 3771099 w 4035425"/>
                  <a:gd name="connsiteY34" fmla="*/ 4001644 h 5441950"/>
                  <a:gd name="connsiteX35" fmla="*/ 3524018 w 4035425"/>
                  <a:gd name="connsiteY35" fmla="*/ 2908924 h 5441950"/>
                  <a:gd name="connsiteX36" fmla="*/ 3134045 w 4035425"/>
                  <a:gd name="connsiteY36" fmla="*/ 1470821 h 5441950"/>
                  <a:gd name="connsiteX37" fmla="*/ 2651789 w 4035425"/>
                  <a:gd name="connsiteY37" fmla="*/ 908085 h 5441950"/>
                  <a:gd name="connsiteX38" fmla="*/ 2648812 w 4035425"/>
                  <a:gd name="connsiteY38" fmla="*/ 905107 h 5441950"/>
                  <a:gd name="connsiteX39" fmla="*/ 2630951 w 4035425"/>
                  <a:gd name="connsiteY39" fmla="*/ 896175 h 5441950"/>
                  <a:gd name="connsiteX40" fmla="*/ 2648812 w 4035425"/>
                  <a:gd name="connsiteY40" fmla="*/ 747303 h 5441950"/>
                  <a:gd name="connsiteX41" fmla="*/ 2023666 w 4035425"/>
                  <a:gd name="connsiteY41" fmla="*/ 119063 h 5441950"/>
                  <a:gd name="connsiteX42" fmla="*/ 2023668 w 4035425"/>
                  <a:gd name="connsiteY42" fmla="*/ 0 h 5441950"/>
                  <a:gd name="connsiteX43" fmla="*/ 2768031 w 4035425"/>
                  <a:gd name="connsiteY43" fmla="*/ 747325 h 5441950"/>
                  <a:gd name="connsiteX44" fmla="*/ 2762076 w 4035425"/>
                  <a:gd name="connsiteY44" fmla="*/ 836647 h 5441950"/>
                  <a:gd name="connsiteX45" fmla="*/ 3241447 w 4035425"/>
                  <a:gd name="connsiteY45" fmla="*/ 1417238 h 5441950"/>
                  <a:gd name="connsiteX46" fmla="*/ 3640426 w 4035425"/>
                  <a:gd name="connsiteY46" fmla="*/ 2891047 h 5441950"/>
                  <a:gd name="connsiteX47" fmla="*/ 3881599 w 4035425"/>
                  <a:gd name="connsiteY47" fmla="*/ 3956953 h 5441950"/>
                  <a:gd name="connsiteX48" fmla="*/ 4003675 w 4035425"/>
                  <a:gd name="connsiteY48" fmla="*/ 4281488 h 5441950"/>
                  <a:gd name="connsiteX49" fmla="*/ 31750 w 4035425"/>
                  <a:gd name="connsiteY49" fmla="*/ 4281488 h 5441950"/>
                  <a:gd name="connsiteX50" fmla="*/ 162758 w 4035425"/>
                  <a:gd name="connsiteY50" fmla="*/ 3953975 h 5441950"/>
                  <a:gd name="connsiteX51" fmla="*/ 409887 w 4035425"/>
                  <a:gd name="connsiteY51" fmla="*/ 2870205 h 5441950"/>
                  <a:gd name="connsiteX52" fmla="*/ 802911 w 4035425"/>
                  <a:gd name="connsiteY52" fmla="*/ 1417238 h 5441950"/>
                  <a:gd name="connsiteX53" fmla="*/ 1279304 w 4035425"/>
                  <a:gd name="connsiteY53" fmla="*/ 842602 h 5441950"/>
                  <a:gd name="connsiteX54" fmla="*/ 1273349 w 4035425"/>
                  <a:gd name="connsiteY54" fmla="*/ 747325 h 5441950"/>
                  <a:gd name="connsiteX55" fmla="*/ 2023668 w 4035425"/>
                  <a:gd name="connsiteY55" fmla="*/ 0 h 54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35425" h="5441950">
                    <a:moveTo>
                      <a:pt x="1511300" y="4924425"/>
                    </a:moveTo>
                    <a:cubicBezTo>
                      <a:pt x="2020888" y="4924425"/>
                      <a:pt x="2020888" y="4924425"/>
                      <a:pt x="2020888" y="4924425"/>
                    </a:cubicBezTo>
                    <a:cubicBezTo>
                      <a:pt x="2530475" y="4924425"/>
                      <a:pt x="2530475" y="4924425"/>
                      <a:pt x="2530475" y="4924425"/>
                    </a:cubicBezTo>
                    <a:cubicBezTo>
                      <a:pt x="2530475" y="5206982"/>
                      <a:pt x="2301012" y="5441950"/>
                      <a:pt x="2020888" y="5441950"/>
                    </a:cubicBezTo>
                    <a:cubicBezTo>
                      <a:pt x="1740764" y="5441950"/>
                      <a:pt x="1511300" y="5206982"/>
                      <a:pt x="1511300" y="4924425"/>
                    </a:cubicBezTo>
                    <a:close/>
                    <a:moveTo>
                      <a:pt x="119062" y="4500563"/>
                    </a:moveTo>
                    <a:cubicBezTo>
                      <a:pt x="119062" y="4711701"/>
                      <a:pt x="119062" y="4711701"/>
                      <a:pt x="119062" y="4711701"/>
                    </a:cubicBezTo>
                    <a:cubicBezTo>
                      <a:pt x="3916362" y="4711701"/>
                      <a:pt x="3916362" y="4711701"/>
                      <a:pt x="3916362" y="4711701"/>
                    </a:cubicBezTo>
                    <a:cubicBezTo>
                      <a:pt x="3916362" y="4500563"/>
                      <a:pt x="3916362" y="4500563"/>
                      <a:pt x="3916362" y="4500563"/>
                    </a:cubicBezTo>
                    <a:cubicBezTo>
                      <a:pt x="119062" y="4500563"/>
                      <a:pt x="119062" y="4500563"/>
                      <a:pt x="119062" y="4500563"/>
                    </a:cubicBezTo>
                    <a:close/>
                    <a:moveTo>
                      <a:pt x="113087" y="4384675"/>
                    </a:moveTo>
                    <a:cubicBezTo>
                      <a:pt x="3922338" y="4384675"/>
                      <a:pt x="3922338" y="4384675"/>
                      <a:pt x="3922338" y="4384675"/>
                    </a:cubicBezTo>
                    <a:cubicBezTo>
                      <a:pt x="3984834" y="4384675"/>
                      <a:pt x="4035425" y="4435232"/>
                      <a:pt x="4035425" y="4497684"/>
                    </a:cubicBezTo>
                    <a:cubicBezTo>
                      <a:pt x="4035425" y="4714780"/>
                      <a:pt x="4035425" y="4714780"/>
                      <a:pt x="4035425" y="4714780"/>
                    </a:cubicBezTo>
                    <a:cubicBezTo>
                      <a:pt x="4035425" y="4777233"/>
                      <a:pt x="3984834" y="4830763"/>
                      <a:pt x="3922338" y="4830763"/>
                    </a:cubicBezTo>
                    <a:cubicBezTo>
                      <a:pt x="113087" y="4830763"/>
                      <a:pt x="113087" y="4830763"/>
                      <a:pt x="113087" y="4830763"/>
                    </a:cubicBezTo>
                    <a:cubicBezTo>
                      <a:pt x="50592" y="4830763"/>
                      <a:pt x="0" y="4777233"/>
                      <a:pt x="0" y="4714780"/>
                    </a:cubicBezTo>
                    <a:cubicBezTo>
                      <a:pt x="0" y="4497684"/>
                      <a:pt x="0" y="4497684"/>
                      <a:pt x="0" y="4497684"/>
                    </a:cubicBezTo>
                    <a:cubicBezTo>
                      <a:pt x="0" y="4435232"/>
                      <a:pt x="50592" y="4384675"/>
                      <a:pt x="113087" y="4384675"/>
                    </a:cubicBezTo>
                    <a:close/>
                    <a:moveTo>
                      <a:pt x="2020676" y="611188"/>
                    </a:moveTo>
                    <a:cubicBezTo>
                      <a:pt x="2085869" y="611188"/>
                      <a:pt x="2139209" y="661612"/>
                      <a:pt x="2151062" y="723901"/>
                    </a:cubicBezTo>
                    <a:cubicBezTo>
                      <a:pt x="2109576" y="717969"/>
                      <a:pt x="2068089" y="715003"/>
                      <a:pt x="2026602" y="715003"/>
                    </a:cubicBezTo>
                    <a:cubicBezTo>
                      <a:pt x="1976226" y="715003"/>
                      <a:pt x="1931776" y="717969"/>
                      <a:pt x="1884362" y="723901"/>
                    </a:cubicBezTo>
                    <a:cubicBezTo>
                      <a:pt x="1893252" y="661612"/>
                      <a:pt x="1949556" y="611188"/>
                      <a:pt x="2020676" y="611188"/>
                    </a:cubicBezTo>
                    <a:close/>
                    <a:moveTo>
                      <a:pt x="2023666" y="119063"/>
                    </a:moveTo>
                    <a:cubicBezTo>
                      <a:pt x="1672393" y="119063"/>
                      <a:pt x="1392566" y="398942"/>
                      <a:pt x="1392566" y="747303"/>
                    </a:cubicBezTo>
                    <a:cubicBezTo>
                      <a:pt x="1392566" y="797919"/>
                      <a:pt x="1401496" y="848536"/>
                      <a:pt x="1413404" y="902130"/>
                    </a:cubicBezTo>
                    <a:cubicBezTo>
                      <a:pt x="1413404" y="902130"/>
                      <a:pt x="1413404" y="902130"/>
                      <a:pt x="1398519" y="908085"/>
                    </a:cubicBezTo>
                    <a:cubicBezTo>
                      <a:pt x="1398519" y="908085"/>
                      <a:pt x="1398519" y="908085"/>
                      <a:pt x="1395543" y="911062"/>
                    </a:cubicBezTo>
                    <a:cubicBezTo>
                      <a:pt x="1196091" y="1042069"/>
                      <a:pt x="1029385" y="1235603"/>
                      <a:pt x="907333" y="1470821"/>
                    </a:cubicBezTo>
                    <a:cubicBezTo>
                      <a:pt x="675135" y="1905527"/>
                      <a:pt x="600713" y="2405737"/>
                      <a:pt x="526291" y="2888082"/>
                    </a:cubicBezTo>
                    <a:cubicBezTo>
                      <a:pt x="466753" y="3287059"/>
                      <a:pt x="410192" y="3665194"/>
                      <a:pt x="273256" y="3998667"/>
                    </a:cubicBezTo>
                    <a:cubicBezTo>
                      <a:pt x="273256" y="3998667"/>
                      <a:pt x="273256" y="3998667"/>
                      <a:pt x="204787" y="4162426"/>
                    </a:cubicBezTo>
                    <a:cubicBezTo>
                      <a:pt x="204787" y="4162426"/>
                      <a:pt x="204787" y="4162426"/>
                      <a:pt x="3830637" y="4162426"/>
                    </a:cubicBezTo>
                    <a:cubicBezTo>
                      <a:pt x="3830637" y="4162426"/>
                      <a:pt x="3830637" y="4162426"/>
                      <a:pt x="3771099" y="4001644"/>
                    </a:cubicBezTo>
                    <a:cubicBezTo>
                      <a:pt x="3637139" y="3662216"/>
                      <a:pt x="3580579" y="3295991"/>
                      <a:pt x="3524018" y="2908924"/>
                    </a:cubicBezTo>
                    <a:cubicBezTo>
                      <a:pt x="3449595" y="2423601"/>
                      <a:pt x="3372196" y="1926369"/>
                      <a:pt x="3134045" y="1470821"/>
                    </a:cubicBezTo>
                    <a:cubicBezTo>
                      <a:pt x="3017947" y="1235603"/>
                      <a:pt x="2851241" y="1036114"/>
                      <a:pt x="2651789" y="908085"/>
                    </a:cubicBezTo>
                    <a:cubicBezTo>
                      <a:pt x="2651789" y="908085"/>
                      <a:pt x="2651789" y="908085"/>
                      <a:pt x="2648812" y="905107"/>
                    </a:cubicBezTo>
                    <a:cubicBezTo>
                      <a:pt x="2648812" y="905107"/>
                      <a:pt x="2648812" y="905107"/>
                      <a:pt x="2630951" y="896175"/>
                    </a:cubicBezTo>
                    <a:cubicBezTo>
                      <a:pt x="2642859" y="845558"/>
                      <a:pt x="2648812" y="794942"/>
                      <a:pt x="2648812" y="747303"/>
                    </a:cubicBezTo>
                    <a:cubicBezTo>
                      <a:pt x="2648812" y="398942"/>
                      <a:pt x="2368985" y="119063"/>
                      <a:pt x="2023666" y="119063"/>
                    </a:cubicBezTo>
                    <a:close/>
                    <a:moveTo>
                      <a:pt x="2023668" y="0"/>
                    </a:moveTo>
                    <a:cubicBezTo>
                      <a:pt x="2434556" y="0"/>
                      <a:pt x="2768031" y="333468"/>
                      <a:pt x="2768031" y="747325"/>
                    </a:cubicBezTo>
                    <a:cubicBezTo>
                      <a:pt x="2768031" y="777099"/>
                      <a:pt x="2768031" y="806873"/>
                      <a:pt x="2762076" y="836647"/>
                    </a:cubicBezTo>
                    <a:cubicBezTo>
                      <a:pt x="2955611" y="979562"/>
                      <a:pt x="3122348" y="1179047"/>
                      <a:pt x="3241447" y="1417238"/>
                    </a:cubicBezTo>
                    <a:cubicBezTo>
                      <a:pt x="3488575" y="1884689"/>
                      <a:pt x="3565989" y="2396800"/>
                      <a:pt x="3640426" y="2891047"/>
                    </a:cubicBezTo>
                    <a:cubicBezTo>
                      <a:pt x="3699975" y="3269175"/>
                      <a:pt x="3753569" y="3629440"/>
                      <a:pt x="3881599" y="3956953"/>
                    </a:cubicBezTo>
                    <a:cubicBezTo>
                      <a:pt x="3881599" y="3956953"/>
                      <a:pt x="3881599" y="3956953"/>
                      <a:pt x="4003675" y="4281488"/>
                    </a:cubicBezTo>
                    <a:cubicBezTo>
                      <a:pt x="4003675" y="4281488"/>
                      <a:pt x="4003675" y="4281488"/>
                      <a:pt x="31750" y="4281488"/>
                    </a:cubicBezTo>
                    <a:cubicBezTo>
                      <a:pt x="31750" y="4281488"/>
                      <a:pt x="31750" y="4281488"/>
                      <a:pt x="162758" y="3953975"/>
                    </a:cubicBezTo>
                    <a:cubicBezTo>
                      <a:pt x="293766" y="3629440"/>
                      <a:pt x="350338" y="3260243"/>
                      <a:pt x="409887" y="2870205"/>
                    </a:cubicBezTo>
                    <a:cubicBezTo>
                      <a:pt x="484323" y="2378935"/>
                      <a:pt x="561737" y="1869802"/>
                      <a:pt x="802911" y="1417238"/>
                    </a:cubicBezTo>
                    <a:cubicBezTo>
                      <a:pt x="919032" y="1182024"/>
                      <a:pt x="1085769" y="985517"/>
                      <a:pt x="1279304" y="842602"/>
                    </a:cubicBezTo>
                    <a:cubicBezTo>
                      <a:pt x="1276326" y="809850"/>
                      <a:pt x="1273349" y="780077"/>
                      <a:pt x="1273349" y="747325"/>
                    </a:cubicBezTo>
                    <a:cubicBezTo>
                      <a:pt x="1273349" y="333468"/>
                      <a:pt x="1606824" y="0"/>
                      <a:pt x="20236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4" name="Freeform 103"/>
              <p:cNvSpPr>
                <a:spLocks/>
              </p:cNvSpPr>
              <p:nvPr/>
            </p:nvSpPr>
            <p:spPr bwMode="auto">
              <a:xfrm>
                <a:off x="5703951" y="2832354"/>
                <a:ext cx="785622" cy="913638"/>
              </a:xfrm>
              <a:custGeom>
                <a:avLst/>
                <a:gdLst>
                  <a:gd name="connsiteX0" fmla="*/ 1639682 w 3273425"/>
                  <a:gd name="connsiteY0" fmla="*/ 254000 h 3806825"/>
                  <a:gd name="connsiteX1" fmla="*/ 1384300 w 3273425"/>
                  <a:gd name="connsiteY1" fmla="*/ 509575 h 3806825"/>
                  <a:gd name="connsiteX2" fmla="*/ 1402118 w 3273425"/>
                  <a:gd name="connsiteY2" fmla="*/ 607644 h 3806825"/>
                  <a:gd name="connsiteX3" fmla="*/ 1416965 w 3273425"/>
                  <a:gd name="connsiteY3" fmla="*/ 625475 h 3806825"/>
                  <a:gd name="connsiteX4" fmla="*/ 1494174 w 3273425"/>
                  <a:gd name="connsiteY4" fmla="*/ 607644 h 3806825"/>
                  <a:gd name="connsiteX5" fmla="*/ 1785191 w 3273425"/>
                  <a:gd name="connsiteY5" fmla="*/ 604672 h 3806825"/>
                  <a:gd name="connsiteX6" fmla="*/ 1859430 w 3273425"/>
                  <a:gd name="connsiteY6" fmla="*/ 622503 h 3806825"/>
                  <a:gd name="connsiteX7" fmla="*/ 1871308 w 3273425"/>
                  <a:gd name="connsiteY7" fmla="*/ 607644 h 3806825"/>
                  <a:gd name="connsiteX8" fmla="*/ 1889125 w 3273425"/>
                  <a:gd name="connsiteY8" fmla="*/ 509575 h 3806825"/>
                  <a:gd name="connsiteX9" fmla="*/ 1639682 w 3273425"/>
                  <a:gd name="connsiteY9" fmla="*/ 254000 h 3806825"/>
                  <a:gd name="connsiteX10" fmla="*/ 1639689 w 3273425"/>
                  <a:gd name="connsiteY10" fmla="*/ 0 h 3806825"/>
                  <a:gd name="connsiteX11" fmla="*/ 2145581 w 3273425"/>
                  <a:gd name="connsiteY11" fmla="*/ 508966 h 3806825"/>
                  <a:gd name="connsiteX12" fmla="*/ 2106895 w 3273425"/>
                  <a:gd name="connsiteY12" fmla="*/ 708385 h 3806825"/>
                  <a:gd name="connsiteX13" fmla="*/ 2103920 w 3273425"/>
                  <a:gd name="connsiteY13" fmla="*/ 711361 h 3806825"/>
                  <a:gd name="connsiteX14" fmla="*/ 2202122 w 3273425"/>
                  <a:gd name="connsiteY14" fmla="*/ 767913 h 3806825"/>
                  <a:gd name="connsiteX15" fmla="*/ 2642547 w 3273425"/>
                  <a:gd name="connsiteY15" fmla="*/ 1285808 h 3806825"/>
                  <a:gd name="connsiteX16" fmla="*/ 3273425 w 3273425"/>
                  <a:gd name="connsiteY16" fmla="*/ 3806825 h 3806825"/>
                  <a:gd name="connsiteX17" fmla="*/ 0 w 3273425"/>
                  <a:gd name="connsiteY17" fmla="*/ 3806825 h 3806825"/>
                  <a:gd name="connsiteX18" fmla="*/ 630878 w 3273425"/>
                  <a:gd name="connsiteY18" fmla="*/ 1285808 h 3806825"/>
                  <a:gd name="connsiteX19" fmla="*/ 1077255 w 3273425"/>
                  <a:gd name="connsiteY19" fmla="*/ 770890 h 3806825"/>
                  <a:gd name="connsiteX20" fmla="*/ 1172482 w 3273425"/>
                  <a:gd name="connsiteY20" fmla="*/ 717314 h 3806825"/>
                  <a:gd name="connsiteX21" fmla="*/ 1166530 w 3273425"/>
                  <a:gd name="connsiteY21" fmla="*/ 708385 h 3806825"/>
                  <a:gd name="connsiteX22" fmla="*/ 1127844 w 3273425"/>
                  <a:gd name="connsiteY22" fmla="*/ 508966 h 3806825"/>
                  <a:gd name="connsiteX23" fmla="*/ 1639689 w 3273425"/>
                  <a:gd name="connsiteY23" fmla="*/ 0 h 380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73425" h="3806825">
                    <a:moveTo>
                      <a:pt x="1639682" y="254000"/>
                    </a:moveTo>
                    <a:cubicBezTo>
                      <a:pt x="1497143" y="254000"/>
                      <a:pt x="1384300" y="369900"/>
                      <a:pt x="1384300" y="509575"/>
                    </a:cubicBezTo>
                    <a:cubicBezTo>
                      <a:pt x="1384300" y="542265"/>
                      <a:pt x="1390239" y="574954"/>
                      <a:pt x="1402118" y="607644"/>
                    </a:cubicBezTo>
                    <a:cubicBezTo>
                      <a:pt x="1416965" y="625475"/>
                      <a:pt x="1416965" y="625475"/>
                      <a:pt x="1416965" y="625475"/>
                    </a:cubicBezTo>
                    <a:cubicBezTo>
                      <a:pt x="1494174" y="607644"/>
                      <a:pt x="1494174" y="607644"/>
                      <a:pt x="1494174" y="607644"/>
                    </a:cubicBezTo>
                    <a:cubicBezTo>
                      <a:pt x="1589200" y="592785"/>
                      <a:pt x="1690165" y="592785"/>
                      <a:pt x="1785191" y="604672"/>
                    </a:cubicBezTo>
                    <a:cubicBezTo>
                      <a:pt x="1859430" y="622503"/>
                      <a:pt x="1859430" y="622503"/>
                      <a:pt x="1859430" y="622503"/>
                    </a:cubicBezTo>
                    <a:cubicBezTo>
                      <a:pt x="1871308" y="607644"/>
                      <a:pt x="1871308" y="607644"/>
                      <a:pt x="1871308" y="607644"/>
                    </a:cubicBezTo>
                    <a:cubicBezTo>
                      <a:pt x="1883186" y="574954"/>
                      <a:pt x="1889125" y="542265"/>
                      <a:pt x="1889125" y="509575"/>
                    </a:cubicBezTo>
                    <a:cubicBezTo>
                      <a:pt x="1889125" y="369900"/>
                      <a:pt x="1776282" y="254000"/>
                      <a:pt x="1639682" y="254000"/>
                    </a:cubicBezTo>
                    <a:close/>
                    <a:moveTo>
                      <a:pt x="1639689" y="0"/>
                    </a:moveTo>
                    <a:cubicBezTo>
                      <a:pt x="1916442" y="0"/>
                      <a:pt x="2145581" y="226207"/>
                      <a:pt x="2145581" y="508966"/>
                    </a:cubicBezTo>
                    <a:cubicBezTo>
                      <a:pt x="2145581" y="577423"/>
                      <a:pt x="2130702" y="645880"/>
                      <a:pt x="2106895" y="708385"/>
                    </a:cubicBezTo>
                    <a:cubicBezTo>
                      <a:pt x="2103920" y="711361"/>
                      <a:pt x="2103920" y="711361"/>
                      <a:pt x="2103920" y="711361"/>
                    </a:cubicBezTo>
                    <a:cubicBezTo>
                      <a:pt x="2202122" y="767913"/>
                      <a:pt x="2202122" y="767913"/>
                      <a:pt x="2202122" y="767913"/>
                    </a:cubicBezTo>
                    <a:cubicBezTo>
                      <a:pt x="2377697" y="881017"/>
                      <a:pt x="2529465" y="1056625"/>
                      <a:pt x="2642547" y="1285808"/>
                    </a:cubicBezTo>
                    <a:cubicBezTo>
                      <a:pt x="3056189" y="2068603"/>
                      <a:pt x="2966914" y="3009148"/>
                      <a:pt x="3273425" y="3806825"/>
                    </a:cubicBezTo>
                    <a:cubicBezTo>
                      <a:pt x="0" y="3806825"/>
                      <a:pt x="0" y="3806825"/>
                      <a:pt x="0" y="3806825"/>
                    </a:cubicBezTo>
                    <a:cubicBezTo>
                      <a:pt x="315439" y="3032959"/>
                      <a:pt x="229140" y="2053721"/>
                      <a:pt x="630878" y="1285808"/>
                    </a:cubicBezTo>
                    <a:cubicBezTo>
                      <a:pt x="746936" y="1059601"/>
                      <a:pt x="898704" y="886969"/>
                      <a:pt x="1077255" y="770890"/>
                    </a:cubicBezTo>
                    <a:cubicBezTo>
                      <a:pt x="1172482" y="717314"/>
                      <a:pt x="1172482" y="717314"/>
                      <a:pt x="1172482" y="717314"/>
                    </a:cubicBezTo>
                    <a:cubicBezTo>
                      <a:pt x="1166530" y="708385"/>
                      <a:pt x="1166530" y="708385"/>
                      <a:pt x="1166530" y="708385"/>
                    </a:cubicBezTo>
                    <a:cubicBezTo>
                      <a:pt x="1142723" y="645880"/>
                      <a:pt x="1127844" y="577423"/>
                      <a:pt x="1127844" y="508966"/>
                    </a:cubicBezTo>
                    <a:cubicBezTo>
                      <a:pt x="1127844" y="226207"/>
                      <a:pt x="1356984" y="0"/>
                      <a:pt x="163968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05" name="TextBox 104"/>
          <p:cNvSpPr txBox="1"/>
          <p:nvPr/>
        </p:nvSpPr>
        <p:spPr>
          <a:xfrm>
            <a:off x="2743200" y="5391752"/>
            <a:ext cx="236394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Deadline: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In the unavoidable case of being pulled on case/</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any anticipated delay; raise an early alarm</a:t>
            </a:r>
          </a:p>
        </p:txBody>
      </p:sp>
      <p:grpSp>
        <p:nvGrpSpPr>
          <p:cNvPr id="106" name="bcgBugs_Telephone"/>
          <p:cNvGrpSpPr>
            <a:grpSpLocks noChangeAspect="1"/>
          </p:cNvGrpSpPr>
          <p:nvPr/>
        </p:nvGrpSpPr>
        <p:grpSpPr bwMode="auto">
          <a:xfrm>
            <a:off x="3823420" y="4341920"/>
            <a:ext cx="604527" cy="605119"/>
            <a:chOff x="2818" y="1137"/>
            <a:chExt cx="2044" cy="2046"/>
          </a:xfrm>
        </p:grpSpPr>
        <p:sp>
          <p:nvSpPr>
            <p:cNvPr id="107" name="AutoShape 2"/>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07"/>
            <p:cNvSpPr>
              <a:spLocks/>
            </p:cNvSpPr>
            <p:nvPr/>
          </p:nvSpPr>
          <p:spPr bwMode="auto">
            <a:xfrm>
              <a:off x="3061" y="1383"/>
              <a:ext cx="1562" cy="1556"/>
            </a:xfrm>
            <a:custGeom>
              <a:avLst/>
              <a:gdLst>
                <a:gd name="T0" fmla="*/ 761 w 763"/>
                <a:gd name="T1" fmla="*/ 600 h 760"/>
                <a:gd name="T2" fmla="*/ 750 w 763"/>
                <a:gd name="T3" fmla="*/ 632 h 760"/>
                <a:gd name="T4" fmla="*/ 643 w 763"/>
                <a:gd name="T5" fmla="*/ 738 h 760"/>
                <a:gd name="T6" fmla="*/ 624 w 763"/>
                <a:gd name="T7" fmla="*/ 752 h 760"/>
                <a:gd name="T8" fmla="*/ 601 w 763"/>
                <a:gd name="T9" fmla="*/ 759 h 760"/>
                <a:gd name="T10" fmla="*/ 596 w 763"/>
                <a:gd name="T11" fmla="*/ 760 h 760"/>
                <a:gd name="T12" fmla="*/ 585 w 763"/>
                <a:gd name="T13" fmla="*/ 760 h 760"/>
                <a:gd name="T14" fmla="*/ 536 w 763"/>
                <a:gd name="T15" fmla="*/ 755 h 760"/>
                <a:gd name="T16" fmla="*/ 452 w 763"/>
                <a:gd name="T17" fmla="*/ 729 h 760"/>
                <a:gd name="T18" fmla="*/ 340 w 763"/>
                <a:gd name="T19" fmla="*/ 667 h 760"/>
                <a:gd name="T20" fmla="*/ 206 w 763"/>
                <a:gd name="T21" fmla="*/ 555 h 760"/>
                <a:gd name="T22" fmla="*/ 113 w 763"/>
                <a:gd name="T23" fmla="*/ 448 h 760"/>
                <a:gd name="T24" fmla="*/ 53 w 763"/>
                <a:gd name="T25" fmla="*/ 355 h 760"/>
                <a:gd name="T26" fmla="*/ 19 w 763"/>
                <a:gd name="T27" fmla="*/ 277 h 760"/>
                <a:gd name="T28" fmla="*/ 4 w 763"/>
                <a:gd name="T29" fmla="*/ 216 h 760"/>
                <a:gd name="T30" fmla="*/ 1 w 763"/>
                <a:gd name="T31" fmla="*/ 176 h 760"/>
                <a:gd name="T32" fmla="*/ 2 w 763"/>
                <a:gd name="T33" fmla="*/ 160 h 760"/>
                <a:gd name="T34" fmla="*/ 9 w 763"/>
                <a:gd name="T35" fmla="*/ 137 h 760"/>
                <a:gd name="T36" fmla="*/ 23 w 763"/>
                <a:gd name="T37" fmla="*/ 118 h 760"/>
                <a:gd name="T38" fmla="*/ 130 w 763"/>
                <a:gd name="T39" fmla="*/ 11 h 760"/>
                <a:gd name="T40" fmla="*/ 155 w 763"/>
                <a:gd name="T41" fmla="*/ 0 h 760"/>
                <a:gd name="T42" fmla="*/ 174 w 763"/>
                <a:gd name="T43" fmla="*/ 6 h 760"/>
                <a:gd name="T44" fmla="*/ 188 w 763"/>
                <a:gd name="T45" fmla="*/ 21 h 760"/>
                <a:gd name="T46" fmla="*/ 274 w 763"/>
                <a:gd name="T47" fmla="*/ 184 h 760"/>
                <a:gd name="T48" fmla="*/ 278 w 763"/>
                <a:gd name="T49" fmla="*/ 212 h 760"/>
                <a:gd name="T50" fmla="*/ 264 w 763"/>
                <a:gd name="T51" fmla="*/ 238 h 760"/>
                <a:gd name="T52" fmla="*/ 225 w 763"/>
                <a:gd name="T53" fmla="*/ 278 h 760"/>
                <a:gd name="T54" fmla="*/ 222 w 763"/>
                <a:gd name="T55" fmla="*/ 283 h 760"/>
                <a:gd name="T56" fmla="*/ 221 w 763"/>
                <a:gd name="T57" fmla="*/ 289 h 760"/>
                <a:gd name="T58" fmla="*/ 235 w 763"/>
                <a:gd name="T59" fmla="*/ 328 h 760"/>
                <a:gd name="T60" fmla="*/ 265 w 763"/>
                <a:gd name="T61" fmla="*/ 375 h 760"/>
                <a:gd name="T62" fmla="*/ 322 w 763"/>
                <a:gd name="T63" fmla="*/ 439 h 760"/>
                <a:gd name="T64" fmla="*/ 387 w 763"/>
                <a:gd name="T65" fmla="*/ 496 h 760"/>
                <a:gd name="T66" fmla="*/ 434 w 763"/>
                <a:gd name="T67" fmla="*/ 527 h 760"/>
                <a:gd name="T68" fmla="*/ 463 w 763"/>
                <a:gd name="T69" fmla="*/ 538 h 760"/>
                <a:gd name="T70" fmla="*/ 473 w 763"/>
                <a:gd name="T71" fmla="*/ 540 h 760"/>
                <a:gd name="T72" fmla="*/ 478 w 763"/>
                <a:gd name="T73" fmla="*/ 539 h 760"/>
                <a:gd name="T74" fmla="*/ 483 w 763"/>
                <a:gd name="T75" fmla="*/ 536 h 760"/>
                <a:gd name="T76" fmla="*/ 529 w 763"/>
                <a:gd name="T77" fmla="*/ 489 h 760"/>
                <a:gd name="T78" fmla="*/ 563 w 763"/>
                <a:gd name="T79" fmla="*/ 477 h 760"/>
                <a:gd name="T80" fmla="*/ 585 w 763"/>
                <a:gd name="T81" fmla="*/ 481 h 760"/>
                <a:gd name="T82" fmla="*/ 585 w 763"/>
                <a:gd name="T83" fmla="*/ 481 h 760"/>
                <a:gd name="T84" fmla="*/ 741 w 763"/>
                <a:gd name="T85" fmla="*/ 573 h 760"/>
                <a:gd name="T86" fmla="*/ 761 w 763"/>
                <a:gd name="T87" fmla="*/ 60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3" h="760">
                  <a:moveTo>
                    <a:pt x="761" y="600"/>
                  </a:moveTo>
                  <a:cubicBezTo>
                    <a:pt x="763" y="612"/>
                    <a:pt x="759" y="623"/>
                    <a:pt x="750" y="632"/>
                  </a:cubicBezTo>
                  <a:cubicBezTo>
                    <a:pt x="643" y="738"/>
                    <a:pt x="643" y="738"/>
                    <a:pt x="643" y="738"/>
                  </a:cubicBezTo>
                  <a:cubicBezTo>
                    <a:pt x="638" y="744"/>
                    <a:pt x="631" y="748"/>
                    <a:pt x="624" y="752"/>
                  </a:cubicBezTo>
                  <a:cubicBezTo>
                    <a:pt x="616" y="756"/>
                    <a:pt x="608" y="758"/>
                    <a:pt x="601" y="759"/>
                  </a:cubicBezTo>
                  <a:cubicBezTo>
                    <a:pt x="600" y="759"/>
                    <a:pt x="599" y="759"/>
                    <a:pt x="596" y="760"/>
                  </a:cubicBezTo>
                  <a:cubicBezTo>
                    <a:pt x="593" y="760"/>
                    <a:pt x="590" y="760"/>
                    <a:pt x="585" y="760"/>
                  </a:cubicBezTo>
                  <a:cubicBezTo>
                    <a:pt x="575" y="760"/>
                    <a:pt x="559" y="758"/>
                    <a:pt x="536" y="755"/>
                  </a:cubicBezTo>
                  <a:cubicBezTo>
                    <a:pt x="513" y="751"/>
                    <a:pt x="485" y="743"/>
                    <a:pt x="452" y="729"/>
                  </a:cubicBezTo>
                  <a:cubicBezTo>
                    <a:pt x="419" y="715"/>
                    <a:pt x="382" y="695"/>
                    <a:pt x="340" y="667"/>
                  </a:cubicBezTo>
                  <a:cubicBezTo>
                    <a:pt x="298" y="640"/>
                    <a:pt x="253" y="603"/>
                    <a:pt x="206" y="555"/>
                  </a:cubicBezTo>
                  <a:cubicBezTo>
                    <a:pt x="169" y="518"/>
                    <a:pt x="137" y="482"/>
                    <a:pt x="113" y="448"/>
                  </a:cubicBezTo>
                  <a:cubicBezTo>
                    <a:pt x="88" y="415"/>
                    <a:pt x="68" y="383"/>
                    <a:pt x="53" y="355"/>
                  </a:cubicBezTo>
                  <a:cubicBezTo>
                    <a:pt x="38" y="326"/>
                    <a:pt x="27" y="300"/>
                    <a:pt x="19" y="277"/>
                  </a:cubicBezTo>
                  <a:cubicBezTo>
                    <a:pt x="12" y="253"/>
                    <a:pt x="7" y="233"/>
                    <a:pt x="4" y="216"/>
                  </a:cubicBezTo>
                  <a:cubicBezTo>
                    <a:pt x="1" y="199"/>
                    <a:pt x="0" y="186"/>
                    <a:pt x="1" y="176"/>
                  </a:cubicBezTo>
                  <a:cubicBezTo>
                    <a:pt x="1" y="167"/>
                    <a:pt x="2" y="161"/>
                    <a:pt x="2" y="160"/>
                  </a:cubicBezTo>
                  <a:cubicBezTo>
                    <a:pt x="3" y="153"/>
                    <a:pt x="5" y="145"/>
                    <a:pt x="9" y="137"/>
                  </a:cubicBezTo>
                  <a:cubicBezTo>
                    <a:pt x="13" y="129"/>
                    <a:pt x="17" y="123"/>
                    <a:pt x="23" y="118"/>
                  </a:cubicBezTo>
                  <a:cubicBezTo>
                    <a:pt x="130" y="11"/>
                    <a:pt x="130" y="11"/>
                    <a:pt x="130" y="11"/>
                  </a:cubicBezTo>
                  <a:cubicBezTo>
                    <a:pt x="137" y="4"/>
                    <a:pt x="146" y="0"/>
                    <a:pt x="155" y="0"/>
                  </a:cubicBezTo>
                  <a:cubicBezTo>
                    <a:pt x="162" y="0"/>
                    <a:pt x="169" y="2"/>
                    <a:pt x="174" y="6"/>
                  </a:cubicBezTo>
                  <a:cubicBezTo>
                    <a:pt x="179" y="10"/>
                    <a:pt x="184" y="15"/>
                    <a:pt x="188" y="21"/>
                  </a:cubicBezTo>
                  <a:cubicBezTo>
                    <a:pt x="274" y="184"/>
                    <a:pt x="274" y="184"/>
                    <a:pt x="274" y="184"/>
                  </a:cubicBezTo>
                  <a:cubicBezTo>
                    <a:pt x="279" y="193"/>
                    <a:pt x="280" y="202"/>
                    <a:pt x="278" y="212"/>
                  </a:cubicBezTo>
                  <a:cubicBezTo>
                    <a:pt x="276" y="223"/>
                    <a:pt x="271" y="231"/>
                    <a:pt x="264" y="238"/>
                  </a:cubicBezTo>
                  <a:cubicBezTo>
                    <a:pt x="225" y="278"/>
                    <a:pt x="225" y="278"/>
                    <a:pt x="225" y="278"/>
                  </a:cubicBezTo>
                  <a:cubicBezTo>
                    <a:pt x="224" y="279"/>
                    <a:pt x="223" y="281"/>
                    <a:pt x="222" y="283"/>
                  </a:cubicBezTo>
                  <a:cubicBezTo>
                    <a:pt x="221" y="285"/>
                    <a:pt x="221" y="287"/>
                    <a:pt x="221" y="289"/>
                  </a:cubicBezTo>
                  <a:cubicBezTo>
                    <a:pt x="223" y="300"/>
                    <a:pt x="228" y="313"/>
                    <a:pt x="235" y="328"/>
                  </a:cubicBezTo>
                  <a:cubicBezTo>
                    <a:pt x="242" y="341"/>
                    <a:pt x="252" y="356"/>
                    <a:pt x="265" y="375"/>
                  </a:cubicBezTo>
                  <a:cubicBezTo>
                    <a:pt x="278" y="393"/>
                    <a:pt x="297" y="415"/>
                    <a:pt x="322" y="439"/>
                  </a:cubicBezTo>
                  <a:cubicBezTo>
                    <a:pt x="346" y="463"/>
                    <a:pt x="368" y="483"/>
                    <a:pt x="387" y="496"/>
                  </a:cubicBezTo>
                  <a:cubicBezTo>
                    <a:pt x="405" y="510"/>
                    <a:pt x="421" y="520"/>
                    <a:pt x="434" y="527"/>
                  </a:cubicBezTo>
                  <a:cubicBezTo>
                    <a:pt x="446" y="533"/>
                    <a:pt x="456" y="537"/>
                    <a:pt x="463" y="538"/>
                  </a:cubicBezTo>
                  <a:cubicBezTo>
                    <a:pt x="473" y="540"/>
                    <a:pt x="473" y="540"/>
                    <a:pt x="473" y="540"/>
                  </a:cubicBezTo>
                  <a:cubicBezTo>
                    <a:pt x="474" y="540"/>
                    <a:pt x="476" y="540"/>
                    <a:pt x="478" y="539"/>
                  </a:cubicBezTo>
                  <a:cubicBezTo>
                    <a:pt x="480" y="538"/>
                    <a:pt x="482" y="537"/>
                    <a:pt x="483" y="536"/>
                  </a:cubicBezTo>
                  <a:cubicBezTo>
                    <a:pt x="529" y="489"/>
                    <a:pt x="529" y="489"/>
                    <a:pt x="529" y="489"/>
                  </a:cubicBezTo>
                  <a:cubicBezTo>
                    <a:pt x="539" y="481"/>
                    <a:pt x="550" y="477"/>
                    <a:pt x="563" y="477"/>
                  </a:cubicBezTo>
                  <a:cubicBezTo>
                    <a:pt x="572" y="477"/>
                    <a:pt x="579" y="478"/>
                    <a:pt x="585" y="481"/>
                  </a:cubicBezTo>
                  <a:cubicBezTo>
                    <a:pt x="585" y="481"/>
                    <a:pt x="585" y="481"/>
                    <a:pt x="585" y="481"/>
                  </a:cubicBezTo>
                  <a:cubicBezTo>
                    <a:pt x="741" y="573"/>
                    <a:pt x="741" y="573"/>
                    <a:pt x="741" y="573"/>
                  </a:cubicBezTo>
                  <a:cubicBezTo>
                    <a:pt x="752" y="580"/>
                    <a:pt x="759" y="589"/>
                    <a:pt x="761" y="6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bcgBugs_Speaking"/>
          <p:cNvGrpSpPr>
            <a:grpSpLocks noChangeAspect="1"/>
          </p:cNvGrpSpPr>
          <p:nvPr/>
        </p:nvGrpSpPr>
        <p:grpSpPr bwMode="auto">
          <a:xfrm>
            <a:off x="4132144" y="4107221"/>
            <a:ext cx="456753" cy="457200"/>
            <a:chOff x="2818" y="1137"/>
            <a:chExt cx="2044" cy="2046"/>
          </a:xfrm>
        </p:grpSpPr>
        <p:sp>
          <p:nvSpPr>
            <p:cNvPr id="11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10"/>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bcgBugs_ExclamationPoint"/>
          <p:cNvGrpSpPr>
            <a:grpSpLocks noChangeAspect="1"/>
          </p:cNvGrpSpPr>
          <p:nvPr/>
        </p:nvGrpSpPr>
        <p:grpSpPr bwMode="auto">
          <a:xfrm>
            <a:off x="7017207" y="3407671"/>
            <a:ext cx="456753" cy="457200"/>
            <a:chOff x="2818" y="1137"/>
            <a:chExt cx="2044" cy="2046"/>
          </a:xfrm>
        </p:grpSpPr>
        <p:sp>
          <p:nvSpPr>
            <p:cNvPr id="120" name="AutoShape 39"/>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41"/>
            <p:cNvSpPr>
              <a:spLocks noEditPoints="1"/>
            </p:cNvSpPr>
            <p:nvPr/>
          </p:nvSpPr>
          <p:spPr bwMode="auto">
            <a:xfrm>
              <a:off x="3632" y="1262"/>
              <a:ext cx="418" cy="1800"/>
            </a:xfrm>
            <a:custGeom>
              <a:avLst/>
              <a:gdLst>
                <a:gd name="T0" fmla="*/ 102 w 204"/>
                <a:gd name="T1" fmla="*/ 879 h 879"/>
                <a:gd name="T2" fmla="*/ 30 w 204"/>
                <a:gd name="T3" fmla="*/ 849 h 879"/>
                <a:gd name="T4" fmla="*/ 0 w 204"/>
                <a:gd name="T5" fmla="*/ 777 h 879"/>
                <a:gd name="T6" fmla="*/ 30 w 204"/>
                <a:gd name="T7" fmla="*/ 705 h 879"/>
                <a:gd name="T8" fmla="*/ 102 w 204"/>
                <a:gd name="T9" fmla="*/ 675 h 879"/>
                <a:gd name="T10" fmla="*/ 174 w 204"/>
                <a:gd name="T11" fmla="*/ 705 h 879"/>
                <a:gd name="T12" fmla="*/ 204 w 204"/>
                <a:gd name="T13" fmla="*/ 777 h 879"/>
                <a:gd name="T14" fmla="*/ 174 w 204"/>
                <a:gd name="T15" fmla="*/ 849 h 879"/>
                <a:gd name="T16" fmla="*/ 102 w 204"/>
                <a:gd name="T17" fmla="*/ 879 h 879"/>
                <a:gd name="T18" fmla="*/ 139 w 204"/>
                <a:gd name="T19" fmla="*/ 604 h 879"/>
                <a:gd name="T20" fmla="*/ 142 w 204"/>
                <a:gd name="T21" fmla="*/ 585 h 879"/>
                <a:gd name="T22" fmla="*/ 183 w 204"/>
                <a:gd name="T23" fmla="*/ 210 h 879"/>
                <a:gd name="T24" fmla="*/ 183 w 204"/>
                <a:gd name="T25" fmla="*/ 0 h 879"/>
                <a:gd name="T26" fmla="*/ 18 w 204"/>
                <a:gd name="T27" fmla="*/ 0 h 879"/>
                <a:gd name="T28" fmla="*/ 18 w 204"/>
                <a:gd name="T29" fmla="*/ 211 h 879"/>
                <a:gd name="T30" fmla="*/ 59 w 204"/>
                <a:gd name="T31" fmla="*/ 585 h 879"/>
                <a:gd name="T32" fmla="*/ 62 w 204"/>
                <a:gd name="T33" fmla="*/ 604 h 879"/>
                <a:gd name="T34" fmla="*/ 139 w 204"/>
                <a:gd name="T35" fmla="*/ 60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79">
                  <a:moveTo>
                    <a:pt x="102" y="879"/>
                  </a:moveTo>
                  <a:cubicBezTo>
                    <a:pt x="74" y="879"/>
                    <a:pt x="50" y="869"/>
                    <a:pt x="30" y="849"/>
                  </a:cubicBezTo>
                  <a:cubicBezTo>
                    <a:pt x="10" y="829"/>
                    <a:pt x="0" y="805"/>
                    <a:pt x="0" y="777"/>
                  </a:cubicBezTo>
                  <a:cubicBezTo>
                    <a:pt x="0" y="749"/>
                    <a:pt x="10" y="724"/>
                    <a:pt x="30" y="705"/>
                  </a:cubicBezTo>
                  <a:cubicBezTo>
                    <a:pt x="50" y="685"/>
                    <a:pt x="74" y="675"/>
                    <a:pt x="102" y="675"/>
                  </a:cubicBezTo>
                  <a:cubicBezTo>
                    <a:pt x="130" y="675"/>
                    <a:pt x="154" y="685"/>
                    <a:pt x="174" y="705"/>
                  </a:cubicBezTo>
                  <a:cubicBezTo>
                    <a:pt x="194" y="724"/>
                    <a:pt x="204" y="749"/>
                    <a:pt x="204" y="777"/>
                  </a:cubicBezTo>
                  <a:cubicBezTo>
                    <a:pt x="204" y="805"/>
                    <a:pt x="194" y="829"/>
                    <a:pt x="174" y="849"/>
                  </a:cubicBezTo>
                  <a:cubicBezTo>
                    <a:pt x="154" y="869"/>
                    <a:pt x="130" y="879"/>
                    <a:pt x="102" y="879"/>
                  </a:cubicBezTo>
                  <a:close/>
                  <a:moveTo>
                    <a:pt x="139" y="604"/>
                  </a:moveTo>
                  <a:cubicBezTo>
                    <a:pt x="142" y="585"/>
                    <a:pt x="142" y="585"/>
                    <a:pt x="142" y="585"/>
                  </a:cubicBezTo>
                  <a:cubicBezTo>
                    <a:pt x="170" y="402"/>
                    <a:pt x="183" y="280"/>
                    <a:pt x="183" y="210"/>
                  </a:cubicBezTo>
                  <a:cubicBezTo>
                    <a:pt x="183" y="0"/>
                    <a:pt x="183" y="0"/>
                    <a:pt x="183" y="0"/>
                  </a:cubicBezTo>
                  <a:cubicBezTo>
                    <a:pt x="18" y="0"/>
                    <a:pt x="18" y="0"/>
                    <a:pt x="18" y="0"/>
                  </a:cubicBezTo>
                  <a:cubicBezTo>
                    <a:pt x="18" y="211"/>
                    <a:pt x="18" y="211"/>
                    <a:pt x="18" y="211"/>
                  </a:cubicBezTo>
                  <a:cubicBezTo>
                    <a:pt x="18" y="281"/>
                    <a:pt x="32" y="407"/>
                    <a:pt x="59" y="585"/>
                  </a:cubicBezTo>
                  <a:cubicBezTo>
                    <a:pt x="62" y="604"/>
                    <a:pt x="62" y="604"/>
                    <a:pt x="62" y="604"/>
                  </a:cubicBezTo>
                  <a:lnTo>
                    <a:pt x="139" y="60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bcgIcons_QuestionMark">
            <a:extLst>
              <a:ext uri="{FF2B5EF4-FFF2-40B4-BE49-F238E27FC236}">
                <a16:creationId xmlns:a16="http://schemas.microsoft.com/office/drawing/2014/main" id="{0EF1C9E0-0ACD-47BD-AA0B-B78A8959BC76}"/>
              </a:ext>
            </a:extLst>
          </p:cNvPr>
          <p:cNvGrpSpPr>
            <a:grpSpLocks noChangeAspect="1"/>
          </p:cNvGrpSpPr>
          <p:nvPr/>
        </p:nvGrpSpPr>
        <p:grpSpPr bwMode="auto">
          <a:xfrm rot="20137245">
            <a:off x="10018127" y="5238108"/>
            <a:ext cx="998552" cy="999477"/>
            <a:chOff x="1682" y="0"/>
            <a:chExt cx="4316" cy="4320"/>
          </a:xfrm>
        </p:grpSpPr>
        <p:sp>
          <p:nvSpPr>
            <p:cNvPr id="50" name="AutoShape 13">
              <a:extLst>
                <a:ext uri="{FF2B5EF4-FFF2-40B4-BE49-F238E27FC236}">
                  <a16:creationId xmlns:a16="http://schemas.microsoft.com/office/drawing/2014/main" id="{291A52DF-4C18-4290-8D69-642FF10F57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5">
              <a:extLst>
                <a:ext uri="{FF2B5EF4-FFF2-40B4-BE49-F238E27FC236}">
                  <a16:creationId xmlns:a16="http://schemas.microsoft.com/office/drawing/2014/main" id="{5A4A6029-163C-47CC-8FB7-41D574FF9E75}"/>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6">
              <a:extLst>
                <a:ext uri="{FF2B5EF4-FFF2-40B4-BE49-F238E27FC236}">
                  <a16:creationId xmlns:a16="http://schemas.microsoft.com/office/drawing/2014/main" id="{DFC2EDA6-50A5-4CEA-9C3E-AC1A8C75AFB5}"/>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Box 4"/>
          <p:cNvSpPr txBox="1"/>
          <p:nvPr/>
        </p:nvSpPr>
        <p:spPr>
          <a:xfrm>
            <a:off x="9096930" y="5737847"/>
            <a:ext cx="1728341" cy="774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rgbClr val="29BA74"/>
                </a:solidFill>
              </a:rPr>
              <a:t>When in doubt… ASK !!!</a:t>
            </a:r>
          </a:p>
        </p:txBody>
      </p:sp>
    </p:spTree>
    <p:extLst>
      <p:ext uri="{BB962C8B-B14F-4D97-AF65-F5344CB8AC3E}">
        <p14:creationId xmlns:p14="http://schemas.microsoft.com/office/powerpoint/2010/main" val="158303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953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7" name="think-cell Slide" r:id="rId7" imgW="395" imgH="394" progId="TCLayout.ActiveDocument.1">
                  <p:embed/>
                </p:oleObj>
              </mc:Choice>
              <mc:Fallback>
                <p:oleObj name="think-cell Slide" r:id="rId7" imgW="395" imgH="39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13729"/>
            <a:ext cx="11078524" cy="498598"/>
          </a:xfrm>
        </p:spPr>
        <p:txBody>
          <a:bodyPr/>
          <a:lstStyle/>
          <a:p>
            <a:r>
              <a:rPr lang="en-US" sz="3600" dirty="0"/>
              <a:t>Introduction </a:t>
            </a:r>
          </a:p>
        </p:txBody>
      </p:sp>
      <p:sp>
        <p:nvSpPr>
          <p:cNvPr id="50" name="Title 2"/>
          <p:cNvSpPr txBox="1">
            <a:spLocks/>
          </p:cNvSpPr>
          <p:nvPr/>
        </p:nvSpPr>
        <p:spPr>
          <a:xfrm>
            <a:off x="630000" y="1589354"/>
            <a:ext cx="11078524" cy="2754600"/>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is caselet will be focusing on creating a React web application which will be ready to use for the retailers to manage their promotion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What is </a:t>
            </a:r>
            <a:r>
              <a:rPr lang="en-GB" sz="1800" dirty="0">
                <a:solidFill>
                  <a:srgbClr val="29BA74"/>
                </a:solidFill>
                <a:latin typeface="Trebuchet MS"/>
              </a:rPr>
              <a:t>retail</a:t>
            </a: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 promotion managemen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GB" sz="1800" dirty="0">
                <a:solidFill>
                  <a:srgbClr val="575757"/>
                </a:solidFill>
                <a:latin typeface="Trebuchet MS"/>
              </a:rPr>
              <a:t>Retail promotion management system, catering to the need of managing promotions across the calendar with prediction over how a future promotion will perform and visibility of impact of past promotions over sales, margin and volume uplift.</a:t>
            </a:r>
            <a:endParaRPr kumimoji="0" lang="en-GB" sz="18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50000"/>
              </a:lnSpc>
              <a:spcBef>
                <a:spcPct val="0"/>
              </a:spcBef>
              <a:spcAft>
                <a:spcPts val="0"/>
              </a:spcAft>
              <a:buClrTx/>
              <a:buSzTx/>
              <a:buFontTx/>
              <a:buNone/>
              <a:tabLst/>
              <a:defRPr/>
            </a:pPr>
            <a:endPar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j-ea"/>
                <a:cs typeface="+mj-cs"/>
                <a:sym typeface="Trebuchet MS" panose="020B0603020202020204" pitchFamily="34" charset="0"/>
              </a:rPr>
              <a:t>Primary Focus of this Web Application will be on:</a:t>
            </a:r>
          </a:p>
        </p:txBody>
      </p:sp>
      <p:graphicFrame>
        <p:nvGraphicFramePr>
          <p:cNvPr id="25" name="Object 24" hidden="1">
            <a:extLst>
              <a:ext uri="{FF2B5EF4-FFF2-40B4-BE49-F238E27FC236}">
                <a16:creationId xmlns:a16="http://schemas.microsoft.com/office/drawing/2014/main" id="{BFDA2EF4-7A7D-034A-B1B0-94E684EAEC7B}"/>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Slide" r:id="rId9" imgW="360" imgH="360" progId="TCLayout.ActiveDocument.1">
                  <p:embed/>
                </p:oleObj>
              </mc:Choice>
              <mc:Fallback>
                <p:oleObj name="think-cell Slide" r:id="rId9" imgW="360" imgH="360" progId="TCLayout.ActiveDocument.1">
                  <p:embed/>
                  <p:pic>
                    <p:nvPicPr>
                      <p:cNvPr id="25" name="Object 24" hidden="1">
                        <a:extLst>
                          <a:ext uri="{FF2B5EF4-FFF2-40B4-BE49-F238E27FC236}">
                            <a16:creationId xmlns:a16="http://schemas.microsoft.com/office/drawing/2014/main" id="{BFDA2EF4-7A7D-034A-B1B0-94E684EAEC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Graphic 7" descr="User with solid fill">
            <a:extLst>
              <a:ext uri="{FF2B5EF4-FFF2-40B4-BE49-F238E27FC236}">
                <a16:creationId xmlns:a16="http://schemas.microsoft.com/office/drawing/2014/main" id="{A9AA5BCC-131D-5344-A3FC-04857D038A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4835" y="4639020"/>
            <a:ext cx="1163103" cy="1163103"/>
          </a:xfrm>
          <a:prstGeom prst="rect">
            <a:avLst/>
          </a:prstGeom>
        </p:spPr>
      </p:pic>
      <p:pic>
        <p:nvPicPr>
          <p:cNvPr id="13" name="Graphic 12" descr="Box trolley outline">
            <a:extLst>
              <a:ext uri="{FF2B5EF4-FFF2-40B4-BE49-F238E27FC236}">
                <a16:creationId xmlns:a16="http://schemas.microsoft.com/office/drawing/2014/main" id="{2663B55E-F0A2-B54C-B2B9-335C827745B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67409" y="4473828"/>
            <a:ext cx="1205994" cy="1205994"/>
          </a:xfrm>
          <a:prstGeom prst="rect">
            <a:avLst/>
          </a:prstGeom>
        </p:spPr>
      </p:pic>
      <p:sp>
        <p:nvSpPr>
          <p:cNvPr id="16" name="TextBox 15">
            <a:extLst>
              <a:ext uri="{FF2B5EF4-FFF2-40B4-BE49-F238E27FC236}">
                <a16:creationId xmlns:a16="http://schemas.microsoft.com/office/drawing/2014/main" id="{D269F12A-34B4-3049-AB6A-31739B3F921A}"/>
              </a:ext>
            </a:extLst>
          </p:cNvPr>
          <p:cNvSpPr txBox="1"/>
          <p:nvPr/>
        </p:nvSpPr>
        <p:spPr>
          <a:xfrm rot="10800000" flipV="1">
            <a:off x="778907" y="5669823"/>
            <a:ext cx="1258678"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Customers</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7" name="TextBox 16">
            <a:extLst>
              <a:ext uri="{FF2B5EF4-FFF2-40B4-BE49-F238E27FC236}">
                <a16:creationId xmlns:a16="http://schemas.microsoft.com/office/drawing/2014/main" id="{8D22E54F-A40D-CC46-9A4E-CA6680B9E47C}"/>
              </a:ext>
            </a:extLst>
          </p:cNvPr>
          <p:cNvSpPr txBox="1"/>
          <p:nvPr/>
        </p:nvSpPr>
        <p:spPr>
          <a:xfrm>
            <a:off x="2637215" y="5543809"/>
            <a:ext cx="1503375" cy="5066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Sales</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8" name="TextBox 17">
            <a:extLst>
              <a:ext uri="{FF2B5EF4-FFF2-40B4-BE49-F238E27FC236}">
                <a16:creationId xmlns:a16="http://schemas.microsoft.com/office/drawing/2014/main" id="{D169628C-EE30-D341-9567-D874A817E05E}"/>
              </a:ext>
            </a:extLst>
          </p:cNvPr>
          <p:cNvSpPr txBox="1"/>
          <p:nvPr/>
        </p:nvSpPr>
        <p:spPr>
          <a:xfrm>
            <a:off x="4673545" y="5647490"/>
            <a:ext cx="1015493" cy="3651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Brand</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TextBox 18">
            <a:extLst>
              <a:ext uri="{FF2B5EF4-FFF2-40B4-BE49-F238E27FC236}">
                <a16:creationId xmlns:a16="http://schemas.microsoft.com/office/drawing/2014/main" id="{5C090CDF-680A-C340-B373-4AEA318DC5B0}"/>
              </a:ext>
            </a:extLst>
          </p:cNvPr>
          <p:cNvSpPr txBox="1"/>
          <p:nvPr/>
        </p:nvSpPr>
        <p:spPr>
          <a:xfrm>
            <a:off x="6362918" y="5658376"/>
            <a:ext cx="1205994" cy="354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Products</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0" name="TextBox 19">
            <a:extLst>
              <a:ext uri="{FF2B5EF4-FFF2-40B4-BE49-F238E27FC236}">
                <a16:creationId xmlns:a16="http://schemas.microsoft.com/office/drawing/2014/main" id="{591834E3-CD8D-BE4E-B141-5471670366D8}"/>
              </a:ext>
            </a:extLst>
          </p:cNvPr>
          <p:cNvSpPr txBox="1"/>
          <p:nvPr/>
        </p:nvSpPr>
        <p:spPr>
          <a:xfrm>
            <a:off x="8522192" y="5618957"/>
            <a:ext cx="1153035" cy="6253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9BA74"/>
                </a:solidFill>
                <a:effectLst/>
                <a:uLnTx/>
                <a:uFillTx/>
                <a:latin typeface="Trebuchet MS"/>
                <a:ea typeface="+mn-ea"/>
                <a:cs typeface="+mn-cs"/>
              </a:rPr>
              <a:t>Histor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rgbClr val="29BA74"/>
                </a:solidFill>
                <a:latin typeface="Trebuchet MS"/>
              </a:rPr>
              <a:t>Promotions</a:t>
            </a: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pSp>
        <p:nvGrpSpPr>
          <p:cNvPr id="21" name="bcgBugs_ShoppingCart">
            <a:extLst>
              <a:ext uri="{FF2B5EF4-FFF2-40B4-BE49-F238E27FC236}">
                <a16:creationId xmlns:a16="http://schemas.microsoft.com/office/drawing/2014/main" id="{2F4010E0-8C5D-4370-9A18-80463ADB2A64}"/>
              </a:ext>
            </a:extLst>
          </p:cNvPr>
          <p:cNvGrpSpPr>
            <a:grpSpLocks noChangeAspect="1"/>
          </p:cNvGrpSpPr>
          <p:nvPr/>
        </p:nvGrpSpPr>
        <p:grpSpPr bwMode="auto">
          <a:xfrm>
            <a:off x="2924401" y="4736212"/>
            <a:ext cx="782681" cy="820150"/>
            <a:chOff x="2818" y="1137"/>
            <a:chExt cx="2044" cy="2046"/>
          </a:xfrm>
        </p:grpSpPr>
        <p:sp>
          <p:nvSpPr>
            <p:cNvPr id="22" name="AutoShape 3">
              <a:extLst>
                <a:ext uri="{FF2B5EF4-FFF2-40B4-BE49-F238E27FC236}">
                  <a16:creationId xmlns:a16="http://schemas.microsoft.com/office/drawing/2014/main" id="{3BD42525-674F-4ED0-BC45-E9EE4599DC36}"/>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
              <a:extLst>
                <a:ext uri="{FF2B5EF4-FFF2-40B4-BE49-F238E27FC236}">
                  <a16:creationId xmlns:a16="http://schemas.microsoft.com/office/drawing/2014/main" id="{1EDF618F-CF2A-4637-902E-C1D556FF5DE0}"/>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982CDDCA-7111-4387-9C69-3581CAE097B1}"/>
              </a:ext>
            </a:extLst>
          </p:cNvPr>
          <p:cNvGrpSpPr>
            <a:grpSpLocks noChangeAspect="1"/>
          </p:cNvGrpSpPr>
          <p:nvPr/>
        </p:nvGrpSpPr>
        <p:grpSpPr>
          <a:xfrm>
            <a:off x="4855520" y="4770929"/>
            <a:ext cx="651545" cy="720737"/>
            <a:chOff x="5867400" y="3200400"/>
            <a:chExt cx="457200" cy="457200"/>
          </a:xfrm>
        </p:grpSpPr>
        <p:sp>
          <p:nvSpPr>
            <p:cNvPr id="31" name="AutoShape 54">
              <a:extLst>
                <a:ext uri="{FF2B5EF4-FFF2-40B4-BE49-F238E27FC236}">
                  <a16:creationId xmlns:a16="http://schemas.microsoft.com/office/drawing/2014/main" id="{17FB9ABA-452B-48AE-A2BC-D6EC79F6617A}"/>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6">
              <a:extLst>
                <a:ext uri="{FF2B5EF4-FFF2-40B4-BE49-F238E27FC236}">
                  <a16:creationId xmlns:a16="http://schemas.microsoft.com/office/drawing/2014/main" id="{C11744BC-6D60-432E-BCAE-1C24D8E3E1ED}"/>
                </a:ext>
              </a:extLst>
            </p:cNvPr>
            <p:cNvSpPr>
              <a:spLocks noEditPoints="1"/>
            </p:cNvSpPr>
            <p:nvPr/>
          </p:nvSpPr>
          <p:spPr bwMode="auto">
            <a:xfrm>
              <a:off x="5902325" y="3228975"/>
              <a:ext cx="393700" cy="403225"/>
            </a:xfrm>
            <a:custGeom>
              <a:avLst/>
              <a:gdLst>
                <a:gd name="T0" fmla="*/ 123 w 124"/>
                <a:gd name="T1" fmla="*/ 27 h 127"/>
                <a:gd name="T2" fmla="*/ 95 w 124"/>
                <a:gd name="T3" fmla="*/ 1 h 127"/>
                <a:gd name="T4" fmla="*/ 92 w 124"/>
                <a:gd name="T5" fmla="*/ 0 h 127"/>
                <a:gd name="T6" fmla="*/ 91 w 124"/>
                <a:gd name="T7" fmla="*/ 0 h 127"/>
                <a:gd name="T8" fmla="*/ 59 w 124"/>
                <a:gd name="T9" fmla="*/ 10 h 127"/>
                <a:gd name="T10" fmla="*/ 58 w 124"/>
                <a:gd name="T11" fmla="*/ 11 h 127"/>
                <a:gd name="T12" fmla="*/ 1 w 124"/>
                <a:gd name="T13" fmla="*/ 72 h 127"/>
                <a:gd name="T14" fmla="*/ 0 w 124"/>
                <a:gd name="T15" fmla="*/ 74 h 127"/>
                <a:gd name="T16" fmla="*/ 1 w 124"/>
                <a:gd name="T17" fmla="*/ 77 h 127"/>
                <a:gd name="T18" fmla="*/ 54 w 124"/>
                <a:gd name="T19" fmla="*/ 126 h 127"/>
                <a:gd name="T20" fmla="*/ 57 w 124"/>
                <a:gd name="T21" fmla="*/ 127 h 127"/>
                <a:gd name="T22" fmla="*/ 57 w 124"/>
                <a:gd name="T23" fmla="*/ 127 h 127"/>
                <a:gd name="T24" fmla="*/ 59 w 124"/>
                <a:gd name="T25" fmla="*/ 125 h 127"/>
                <a:gd name="T26" fmla="*/ 116 w 124"/>
                <a:gd name="T27" fmla="*/ 64 h 127"/>
                <a:gd name="T28" fmla="*/ 116 w 124"/>
                <a:gd name="T29" fmla="*/ 64 h 127"/>
                <a:gd name="T30" fmla="*/ 124 w 124"/>
                <a:gd name="T31" fmla="*/ 30 h 127"/>
                <a:gd name="T32" fmla="*/ 124 w 124"/>
                <a:gd name="T33" fmla="*/ 30 h 127"/>
                <a:gd name="T34" fmla="*/ 123 w 124"/>
                <a:gd name="T35" fmla="*/ 27 h 127"/>
                <a:gd name="T36" fmla="*/ 100 w 124"/>
                <a:gd name="T37" fmla="*/ 33 h 127"/>
                <a:gd name="T38" fmla="*/ 91 w 124"/>
                <a:gd name="T39" fmla="*/ 34 h 127"/>
                <a:gd name="T40" fmla="*/ 90 w 124"/>
                <a:gd name="T41" fmla="*/ 24 h 127"/>
                <a:gd name="T42" fmla="*/ 100 w 124"/>
                <a:gd name="T43" fmla="*/ 24 h 127"/>
                <a:gd name="T44" fmla="*/ 100 w 124"/>
                <a:gd name="T45" fmla="*/ 3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27">
                  <a:moveTo>
                    <a:pt x="123" y="27"/>
                  </a:moveTo>
                  <a:cubicBezTo>
                    <a:pt x="123" y="27"/>
                    <a:pt x="123" y="27"/>
                    <a:pt x="95" y="1"/>
                  </a:cubicBezTo>
                  <a:cubicBezTo>
                    <a:pt x="94" y="0"/>
                    <a:pt x="93" y="0"/>
                    <a:pt x="92" y="0"/>
                  </a:cubicBezTo>
                  <a:cubicBezTo>
                    <a:pt x="92" y="0"/>
                    <a:pt x="91" y="0"/>
                    <a:pt x="91" y="0"/>
                  </a:cubicBezTo>
                  <a:cubicBezTo>
                    <a:pt x="91" y="0"/>
                    <a:pt x="91" y="0"/>
                    <a:pt x="59" y="10"/>
                  </a:cubicBezTo>
                  <a:cubicBezTo>
                    <a:pt x="58" y="11"/>
                    <a:pt x="58" y="11"/>
                    <a:pt x="58" y="11"/>
                  </a:cubicBezTo>
                  <a:cubicBezTo>
                    <a:pt x="58" y="11"/>
                    <a:pt x="58" y="11"/>
                    <a:pt x="1" y="72"/>
                  </a:cubicBezTo>
                  <a:cubicBezTo>
                    <a:pt x="1" y="73"/>
                    <a:pt x="0" y="73"/>
                    <a:pt x="0" y="74"/>
                  </a:cubicBezTo>
                  <a:cubicBezTo>
                    <a:pt x="0" y="75"/>
                    <a:pt x="1" y="76"/>
                    <a:pt x="1" y="77"/>
                  </a:cubicBezTo>
                  <a:cubicBezTo>
                    <a:pt x="1" y="77"/>
                    <a:pt x="1" y="77"/>
                    <a:pt x="54" y="126"/>
                  </a:cubicBezTo>
                  <a:cubicBezTo>
                    <a:pt x="55" y="126"/>
                    <a:pt x="56" y="127"/>
                    <a:pt x="57" y="127"/>
                  </a:cubicBezTo>
                  <a:cubicBezTo>
                    <a:pt x="57" y="127"/>
                    <a:pt x="57" y="127"/>
                    <a:pt x="57" y="127"/>
                  </a:cubicBezTo>
                  <a:cubicBezTo>
                    <a:pt x="58" y="127"/>
                    <a:pt x="59" y="126"/>
                    <a:pt x="59" y="125"/>
                  </a:cubicBezTo>
                  <a:cubicBezTo>
                    <a:pt x="59" y="125"/>
                    <a:pt x="59" y="125"/>
                    <a:pt x="116" y="64"/>
                  </a:cubicBezTo>
                  <a:cubicBezTo>
                    <a:pt x="116" y="64"/>
                    <a:pt x="116" y="64"/>
                    <a:pt x="116" y="64"/>
                  </a:cubicBezTo>
                  <a:cubicBezTo>
                    <a:pt x="116" y="64"/>
                    <a:pt x="116" y="64"/>
                    <a:pt x="124" y="30"/>
                  </a:cubicBezTo>
                  <a:cubicBezTo>
                    <a:pt x="124" y="30"/>
                    <a:pt x="124" y="30"/>
                    <a:pt x="124" y="30"/>
                  </a:cubicBezTo>
                  <a:cubicBezTo>
                    <a:pt x="124" y="29"/>
                    <a:pt x="124" y="28"/>
                    <a:pt x="123" y="27"/>
                  </a:cubicBezTo>
                  <a:close/>
                  <a:moveTo>
                    <a:pt x="100" y="33"/>
                  </a:moveTo>
                  <a:cubicBezTo>
                    <a:pt x="98" y="36"/>
                    <a:pt x="93" y="36"/>
                    <a:pt x="91" y="34"/>
                  </a:cubicBezTo>
                  <a:cubicBezTo>
                    <a:pt x="88" y="31"/>
                    <a:pt x="88" y="27"/>
                    <a:pt x="90" y="24"/>
                  </a:cubicBezTo>
                  <a:cubicBezTo>
                    <a:pt x="93" y="21"/>
                    <a:pt x="97" y="21"/>
                    <a:pt x="100" y="24"/>
                  </a:cubicBezTo>
                  <a:cubicBezTo>
                    <a:pt x="102" y="26"/>
                    <a:pt x="103" y="31"/>
                    <a:pt x="100" y="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id="{B744CBAE-503C-4FEB-9B2D-822C261D2881}"/>
              </a:ext>
            </a:extLst>
          </p:cNvPr>
          <p:cNvGrpSpPr>
            <a:grpSpLocks noChangeAspect="1"/>
          </p:cNvGrpSpPr>
          <p:nvPr/>
        </p:nvGrpSpPr>
        <p:grpSpPr>
          <a:xfrm>
            <a:off x="8455728" y="4473828"/>
            <a:ext cx="1285964" cy="1285964"/>
            <a:chOff x="5273675" y="2606675"/>
            <a:chExt cx="1644650" cy="1644650"/>
          </a:xfrm>
        </p:grpSpPr>
        <p:sp>
          <p:nvSpPr>
            <p:cNvPr id="42" name="AutoShape 3">
              <a:extLst>
                <a:ext uri="{FF2B5EF4-FFF2-40B4-BE49-F238E27FC236}">
                  <a16:creationId xmlns:a16="http://schemas.microsoft.com/office/drawing/2014/main" id="{94C68E24-0DD4-40F1-BA23-94C69EE4B98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F592FB20-F965-4A32-B47E-CE5968A854D4}"/>
                </a:ext>
              </a:extLst>
            </p:cNvPr>
            <p:cNvGrpSpPr/>
            <p:nvPr/>
          </p:nvGrpSpPr>
          <p:grpSpPr>
            <a:xfrm>
              <a:off x="5521593" y="2882900"/>
              <a:ext cx="1148814" cy="1092200"/>
              <a:chOff x="5521593" y="2882900"/>
              <a:chExt cx="1148814" cy="1092200"/>
            </a:xfrm>
          </p:grpSpPr>
          <p:sp>
            <p:nvSpPr>
              <p:cNvPr id="44" name="Freeform 5">
                <a:extLst>
                  <a:ext uri="{FF2B5EF4-FFF2-40B4-BE49-F238E27FC236}">
                    <a16:creationId xmlns:a16="http://schemas.microsoft.com/office/drawing/2014/main" id="{C5DBA8E6-CA92-4DF7-B445-3747A2A19529}"/>
                  </a:ext>
                </a:extLst>
              </p:cNvPr>
              <p:cNvSpPr>
                <a:spLocks noChangeArrowheads="1"/>
              </p:cNvSpPr>
              <p:nvPr/>
            </p:nvSpPr>
            <p:spPr bwMode="auto">
              <a:xfrm>
                <a:off x="5521593" y="2882900"/>
                <a:ext cx="1148814" cy="1092200"/>
              </a:xfrm>
              <a:custGeom>
                <a:avLst/>
                <a:gdLst>
                  <a:gd name="connsiteX0" fmla="*/ 546456 w 1148814"/>
                  <a:gd name="connsiteY0" fmla="*/ 141288 h 1092200"/>
                  <a:gd name="connsiteX1" fmla="*/ 259907 w 1148814"/>
                  <a:gd name="connsiteY1" fmla="*/ 259805 h 1092200"/>
                  <a:gd name="connsiteX2" fmla="*/ 141286 w 1148814"/>
                  <a:gd name="connsiteY2" fmla="*/ 546101 h 1092200"/>
                  <a:gd name="connsiteX3" fmla="*/ 259907 w 1148814"/>
                  <a:gd name="connsiteY3" fmla="*/ 832397 h 1092200"/>
                  <a:gd name="connsiteX4" fmla="*/ 546456 w 1148814"/>
                  <a:gd name="connsiteY4" fmla="*/ 950913 h 1092200"/>
                  <a:gd name="connsiteX5" fmla="*/ 832290 w 1148814"/>
                  <a:gd name="connsiteY5" fmla="*/ 832397 h 1092200"/>
                  <a:gd name="connsiteX6" fmla="*/ 950911 w 1148814"/>
                  <a:gd name="connsiteY6" fmla="*/ 546101 h 1092200"/>
                  <a:gd name="connsiteX7" fmla="*/ 832290 w 1148814"/>
                  <a:gd name="connsiteY7" fmla="*/ 259805 h 1092200"/>
                  <a:gd name="connsiteX8" fmla="*/ 546456 w 1148814"/>
                  <a:gd name="connsiteY8" fmla="*/ 141288 h 1092200"/>
                  <a:gd name="connsiteX9" fmla="*/ 546893 w 1148814"/>
                  <a:gd name="connsiteY9" fmla="*/ 111125 h 1092200"/>
                  <a:gd name="connsiteX10" fmla="*/ 981075 w 1148814"/>
                  <a:gd name="connsiteY10" fmla="*/ 546100 h 1092200"/>
                  <a:gd name="connsiteX11" fmla="*/ 546893 w 1148814"/>
                  <a:gd name="connsiteY11" fmla="*/ 981075 h 1092200"/>
                  <a:gd name="connsiteX12" fmla="*/ 112711 w 1148814"/>
                  <a:gd name="connsiteY12" fmla="*/ 546100 h 1092200"/>
                  <a:gd name="connsiteX13" fmla="*/ 546893 w 1148814"/>
                  <a:gd name="connsiteY13" fmla="*/ 111125 h 1092200"/>
                  <a:gd name="connsiteX14" fmla="*/ 546571 w 1148814"/>
                  <a:gd name="connsiteY14" fmla="*/ 0 h 1092200"/>
                  <a:gd name="connsiteX15" fmla="*/ 1093142 w 1148814"/>
                  <a:gd name="connsiteY15" fmla="*/ 543245 h 1092200"/>
                  <a:gd name="connsiteX16" fmla="*/ 1142376 w 1148814"/>
                  <a:gd name="connsiteY16" fmla="*/ 543245 h 1092200"/>
                  <a:gd name="connsiteX17" fmla="*/ 1147370 w 1148814"/>
                  <a:gd name="connsiteY17" fmla="*/ 553953 h 1092200"/>
                  <a:gd name="connsiteX18" fmla="*/ 1083152 w 1148814"/>
                  <a:gd name="connsiteY18" fmla="*/ 639615 h 1092200"/>
                  <a:gd name="connsiteX19" fmla="*/ 1071735 w 1148814"/>
                  <a:gd name="connsiteY19" fmla="*/ 639615 h 1092200"/>
                  <a:gd name="connsiteX20" fmla="*/ 1007517 w 1148814"/>
                  <a:gd name="connsiteY20" fmla="*/ 553953 h 1092200"/>
                  <a:gd name="connsiteX21" fmla="*/ 1012512 w 1148814"/>
                  <a:gd name="connsiteY21" fmla="*/ 543245 h 1092200"/>
                  <a:gd name="connsiteX22" fmla="*/ 1061746 w 1148814"/>
                  <a:gd name="connsiteY22" fmla="*/ 543245 h 1092200"/>
                  <a:gd name="connsiteX23" fmla="*/ 546571 w 1148814"/>
                  <a:gd name="connsiteY23" fmla="*/ 31410 h 1092200"/>
                  <a:gd name="connsiteX24" fmla="*/ 31395 w 1148814"/>
                  <a:gd name="connsiteY24" fmla="*/ 546100 h 1092200"/>
                  <a:gd name="connsiteX25" fmla="*/ 546571 w 1148814"/>
                  <a:gd name="connsiteY25" fmla="*/ 1060791 h 1092200"/>
                  <a:gd name="connsiteX26" fmla="*/ 562269 w 1148814"/>
                  <a:gd name="connsiteY26" fmla="*/ 1076495 h 1092200"/>
                  <a:gd name="connsiteX27" fmla="*/ 546571 w 1148814"/>
                  <a:gd name="connsiteY27" fmla="*/ 1092200 h 1092200"/>
                  <a:gd name="connsiteX28" fmla="*/ 0 w 1148814"/>
                  <a:gd name="connsiteY28" fmla="*/ 546100 h 1092200"/>
                  <a:gd name="connsiteX29" fmla="*/ 546571 w 1148814"/>
                  <a:gd name="connsiteY29"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48814" h="1092200">
                    <a:moveTo>
                      <a:pt x="546456" y="141288"/>
                    </a:moveTo>
                    <a:cubicBezTo>
                      <a:pt x="437839" y="141288"/>
                      <a:pt x="336368" y="183411"/>
                      <a:pt x="259907" y="259805"/>
                    </a:cubicBezTo>
                    <a:cubicBezTo>
                      <a:pt x="183447" y="335484"/>
                      <a:pt x="141286" y="437579"/>
                      <a:pt x="141286" y="546101"/>
                    </a:cubicBezTo>
                    <a:cubicBezTo>
                      <a:pt x="141286" y="654622"/>
                      <a:pt x="183447" y="756003"/>
                      <a:pt x="259907" y="832397"/>
                    </a:cubicBezTo>
                    <a:cubicBezTo>
                      <a:pt x="336368" y="908790"/>
                      <a:pt x="437839" y="950913"/>
                      <a:pt x="546456" y="950913"/>
                    </a:cubicBezTo>
                    <a:cubicBezTo>
                      <a:pt x="654358" y="950913"/>
                      <a:pt x="756544" y="908790"/>
                      <a:pt x="832290" y="832397"/>
                    </a:cubicBezTo>
                    <a:cubicBezTo>
                      <a:pt x="908751" y="756003"/>
                      <a:pt x="950911" y="654622"/>
                      <a:pt x="950911" y="546101"/>
                    </a:cubicBezTo>
                    <a:cubicBezTo>
                      <a:pt x="950911" y="437579"/>
                      <a:pt x="908751" y="335484"/>
                      <a:pt x="832290" y="259805"/>
                    </a:cubicBezTo>
                    <a:cubicBezTo>
                      <a:pt x="756544" y="183411"/>
                      <a:pt x="654358" y="141288"/>
                      <a:pt x="546456" y="141288"/>
                    </a:cubicBezTo>
                    <a:close/>
                    <a:moveTo>
                      <a:pt x="546893" y="111125"/>
                    </a:moveTo>
                    <a:cubicBezTo>
                      <a:pt x="786685" y="111125"/>
                      <a:pt x="981075" y="305870"/>
                      <a:pt x="981075" y="546100"/>
                    </a:cubicBezTo>
                    <a:cubicBezTo>
                      <a:pt x="981075" y="786330"/>
                      <a:pt x="786685" y="981075"/>
                      <a:pt x="546893" y="981075"/>
                    </a:cubicBezTo>
                    <a:cubicBezTo>
                      <a:pt x="307101" y="981075"/>
                      <a:pt x="112711" y="786330"/>
                      <a:pt x="112711" y="546100"/>
                    </a:cubicBezTo>
                    <a:cubicBezTo>
                      <a:pt x="112711" y="305870"/>
                      <a:pt x="307101" y="111125"/>
                      <a:pt x="546893" y="111125"/>
                    </a:cubicBezTo>
                    <a:close/>
                    <a:moveTo>
                      <a:pt x="546571" y="0"/>
                    </a:moveTo>
                    <a:cubicBezTo>
                      <a:pt x="846971" y="0"/>
                      <a:pt x="1091714" y="243425"/>
                      <a:pt x="1093142" y="543245"/>
                    </a:cubicBezTo>
                    <a:cubicBezTo>
                      <a:pt x="1093142" y="543245"/>
                      <a:pt x="1093142" y="543245"/>
                      <a:pt x="1142376" y="543245"/>
                    </a:cubicBezTo>
                    <a:cubicBezTo>
                      <a:pt x="1147370" y="543245"/>
                      <a:pt x="1150938" y="549669"/>
                      <a:pt x="1147370" y="553953"/>
                    </a:cubicBezTo>
                    <a:cubicBezTo>
                      <a:pt x="1147370" y="553953"/>
                      <a:pt x="1147370" y="553953"/>
                      <a:pt x="1083152" y="639615"/>
                    </a:cubicBezTo>
                    <a:cubicBezTo>
                      <a:pt x="1080298" y="643898"/>
                      <a:pt x="1074590" y="643898"/>
                      <a:pt x="1071735" y="639615"/>
                    </a:cubicBezTo>
                    <a:cubicBezTo>
                      <a:pt x="1071735" y="639615"/>
                      <a:pt x="1071735" y="639615"/>
                      <a:pt x="1007517" y="553953"/>
                    </a:cubicBezTo>
                    <a:cubicBezTo>
                      <a:pt x="1003949" y="549669"/>
                      <a:pt x="1007517" y="543245"/>
                      <a:pt x="1012512" y="543245"/>
                    </a:cubicBezTo>
                    <a:cubicBezTo>
                      <a:pt x="1012512" y="543245"/>
                      <a:pt x="1012512" y="543245"/>
                      <a:pt x="1061746" y="543245"/>
                    </a:cubicBezTo>
                    <a:cubicBezTo>
                      <a:pt x="1060319" y="260558"/>
                      <a:pt x="829132" y="31410"/>
                      <a:pt x="546571" y="31410"/>
                    </a:cubicBezTo>
                    <a:cubicBezTo>
                      <a:pt x="261869" y="31410"/>
                      <a:pt x="31395" y="261985"/>
                      <a:pt x="31395" y="546100"/>
                    </a:cubicBezTo>
                    <a:cubicBezTo>
                      <a:pt x="31395" y="830215"/>
                      <a:pt x="261869" y="1060791"/>
                      <a:pt x="546571" y="1060791"/>
                    </a:cubicBezTo>
                    <a:cubicBezTo>
                      <a:pt x="555133" y="1060791"/>
                      <a:pt x="562269" y="1067929"/>
                      <a:pt x="562269" y="1076495"/>
                    </a:cubicBezTo>
                    <a:cubicBezTo>
                      <a:pt x="562269" y="1085062"/>
                      <a:pt x="555133" y="1092200"/>
                      <a:pt x="546571" y="1092200"/>
                    </a:cubicBezTo>
                    <a:cubicBezTo>
                      <a:pt x="244744" y="1092200"/>
                      <a:pt x="0" y="847347"/>
                      <a:pt x="0" y="546100"/>
                    </a:cubicBezTo>
                    <a:cubicBezTo>
                      <a:pt x="0" y="244853"/>
                      <a:pt x="244744" y="0"/>
                      <a:pt x="54657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7">
                <a:extLst>
                  <a:ext uri="{FF2B5EF4-FFF2-40B4-BE49-F238E27FC236}">
                    <a16:creationId xmlns:a16="http://schemas.microsoft.com/office/drawing/2014/main" id="{25ADE67C-9515-4761-B61C-F81413967CC3}"/>
                  </a:ext>
                </a:extLst>
              </p:cNvPr>
              <p:cNvSpPr>
                <a:spLocks noEditPoints="1"/>
              </p:cNvSpPr>
              <p:nvPr/>
            </p:nvSpPr>
            <p:spPr bwMode="auto">
              <a:xfrm>
                <a:off x="5694630" y="3054350"/>
                <a:ext cx="747713" cy="749300"/>
              </a:xfrm>
              <a:custGeom>
                <a:avLst/>
                <a:gdLst>
                  <a:gd name="T0" fmla="*/ 993 w 1048"/>
                  <a:gd name="T1" fmla="*/ 551 h 1048"/>
                  <a:gd name="T2" fmla="*/ 993 w 1048"/>
                  <a:gd name="T3" fmla="*/ 493 h 1048"/>
                  <a:gd name="T4" fmla="*/ 1048 w 1048"/>
                  <a:gd name="T5" fmla="*/ 493 h 1048"/>
                  <a:gd name="T6" fmla="*/ 551 w 1048"/>
                  <a:gd name="T7" fmla="*/ 0 h 1048"/>
                  <a:gd name="T8" fmla="*/ 522 w 1048"/>
                  <a:gd name="T9" fmla="*/ 85 h 1048"/>
                  <a:gd name="T10" fmla="*/ 493 w 1048"/>
                  <a:gd name="T11" fmla="*/ 0 h 1048"/>
                  <a:gd name="T12" fmla="*/ 308 w 1048"/>
                  <a:gd name="T13" fmla="*/ 46 h 1048"/>
                  <a:gd name="T14" fmla="*/ 297 w 1048"/>
                  <a:gd name="T15" fmla="*/ 50 h 1048"/>
                  <a:gd name="T16" fmla="*/ 289 w 1048"/>
                  <a:gd name="T17" fmla="*/ 55 h 1048"/>
                  <a:gd name="T18" fmla="*/ 55 w 1048"/>
                  <a:gd name="T19" fmla="*/ 496 h 1048"/>
                  <a:gd name="T20" fmla="*/ 55 w 1048"/>
                  <a:gd name="T21" fmla="*/ 555 h 1048"/>
                  <a:gd name="T22" fmla="*/ 399 w 1048"/>
                  <a:gd name="T23" fmla="*/ 1034 h 1048"/>
                  <a:gd name="T24" fmla="*/ 409 w 1048"/>
                  <a:gd name="T25" fmla="*/ 1036 h 1048"/>
                  <a:gd name="T26" fmla="*/ 421 w 1048"/>
                  <a:gd name="T27" fmla="*/ 1039 h 1048"/>
                  <a:gd name="T28" fmla="*/ 432 w 1048"/>
                  <a:gd name="T29" fmla="*/ 1041 h 1048"/>
                  <a:gd name="T30" fmla="*/ 444 w 1048"/>
                  <a:gd name="T31" fmla="*/ 1043 h 1048"/>
                  <a:gd name="T32" fmla="*/ 456 w 1048"/>
                  <a:gd name="T33" fmla="*/ 1044 h 1048"/>
                  <a:gd name="T34" fmla="*/ 496 w 1048"/>
                  <a:gd name="T35" fmla="*/ 1048 h 1048"/>
                  <a:gd name="T36" fmla="*/ 525 w 1048"/>
                  <a:gd name="T37" fmla="*/ 963 h 1048"/>
                  <a:gd name="T38" fmla="*/ 554 w 1048"/>
                  <a:gd name="T39" fmla="*/ 1048 h 1048"/>
                  <a:gd name="T40" fmla="*/ 1048 w 1048"/>
                  <a:gd name="T41" fmla="*/ 551 h 1048"/>
                  <a:gd name="T42" fmla="*/ 132 w 1048"/>
                  <a:gd name="T43" fmla="*/ 266 h 1048"/>
                  <a:gd name="T44" fmla="*/ 103 w 1048"/>
                  <a:gd name="T45" fmla="*/ 316 h 1048"/>
                  <a:gd name="T46" fmla="*/ 133 w 1048"/>
                  <a:gd name="T47" fmla="*/ 785 h 1048"/>
                  <a:gd name="T48" fmla="*/ 104 w 1048"/>
                  <a:gd name="T49" fmla="*/ 734 h 1048"/>
                  <a:gd name="T50" fmla="*/ 133 w 1048"/>
                  <a:gd name="T51" fmla="*/ 785 h 1048"/>
                  <a:gd name="T52" fmla="*/ 771 w 1048"/>
                  <a:gd name="T53" fmla="*/ 93 h 1048"/>
                  <a:gd name="T54" fmla="*/ 742 w 1048"/>
                  <a:gd name="T55" fmla="*/ 143 h 1048"/>
                  <a:gd name="T56" fmla="*/ 273 w 1048"/>
                  <a:gd name="T57" fmla="*/ 94 h 1048"/>
                  <a:gd name="T58" fmla="*/ 303 w 1048"/>
                  <a:gd name="T59" fmla="*/ 144 h 1048"/>
                  <a:gd name="T60" fmla="*/ 273 w 1048"/>
                  <a:gd name="T61" fmla="*/ 94 h 1048"/>
                  <a:gd name="T62" fmla="*/ 276 w 1048"/>
                  <a:gd name="T63" fmla="*/ 955 h 1048"/>
                  <a:gd name="T64" fmla="*/ 305 w 1048"/>
                  <a:gd name="T65" fmla="*/ 905 h 1048"/>
                  <a:gd name="T66" fmla="*/ 773 w 1048"/>
                  <a:gd name="T67" fmla="*/ 954 h 1048"/>
                  <a:gd name="T68" fmla="*/ 744 w 1048"/>
                  <a:gd name="T69" fmla="*/ 903 h 1048"/>
                  <a:gd name="T70" fmla="*/ 773 w 1048"/>
                  <a:gd name="T71" fmla="*/ 954 h 1048"/>
                  <a:gd name="T72" fmla="*/ 571 w 1048"/>
                  <a:gd name="T73" fmla="*/ 521 h 1048"/>
                  <a:gd name="T74" fmla="*/ 524 w 1048"/>
                  <a:gd name="T75" fmla="*/ 570 h 1048"/>
                  <a:gd name="T76" fmla="*/ 329 w 1048"/>
                  <a:gd name="T77" fmla="*/ 423 h 1048"/>
                  <a:gd name="T78" fmla="*/ 349 w 1048"/>
                  <a:gd name="T79" fmla="*/ 391 h 1048"/>
                  <a:gd name="T80" fmla="*/ 524 w 1048"/>
                  <a:gd name="T81" fmla="*/ 476 h 1048"/>
                  <a:gd name="T82" fmla="*/ 781 w 1048"/>
                  <a:gd name="T83" fmla="*/ 293 h 1048"/>
                  <a:gd name="T84" fmla="*/ 804 w 1048"/>
                  <a:gd name="T85" fmla="*/ 322 h 1048"/>
                  <a:gd name="T86" fmla="*/ 954 w 1048"/>
                  <a:gd name="T87" fmla="*/ 274 h 1048"/>
                  <a:gd name="T88" fmla="*/ 904 w 1048"/>
                  <a:gd name="T89" fmla="*/ 303 h 1048"/>
                  <a:gd name="T90" fmla="*/ 956 w 1048"/>
                  <a:gd name="T91" fmla="*/ 771 h 1048"/>
                  <a:gd name="T92" fmla="*/ 906 w 1048"/>
                  <a:gd name="T93" fmla="*/ 742 h 1048"/>
                  <a:gd name="T94" fmla="*/ 956 w 1048"/>
                  <a:gd name="T95" fmla="*/ 771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8" h="1048">
                    <a:moveTo>
                      <a:pt x="1048" y="551"/>
                    </a:moveTo>
                    <a:cubicBezTo>
                      <a:pt x="993" y="551"/>
                      <a:pt x="993" y="551"/>
                      <a:pt x="993" y="551"/>
                    </a:cubicBezTo>
                    <a:cubicBezTo>
                      <a:pt x="977" y="551"/>
                      <a:pt x="964" y="538"/>
                      <a:pt x="964" y="522"/>
                    </a:cubicBezTo>
                    <a:cubicBezTo>
                      <a:pt x="964" y="506"/>
                      <a:pt x="977" y="493"/>
                      <a:pt x="993" y="493"/>
                    </a:cubicBezTo>
                    <a:cubicBezTo>
                      <a:pt x="1047" y="493"/>
                      <a:pt x="1047" y="493"/>
                      <a:pt x="1047" y="493"/>
                    </a:cubicBezTo>
                    <a:cubicBezTo>
                      <a:pt x="1048" y="493"/>
                      <a:pt x="1048" y="493"/>
                      <a:pt x="1048" y="493"/>
                    </a:cubicBezTo>
                    <a:cubicBezTo>
                      <a:pt x="1033" y="227"/>
                      <a:pt x="818" y="14"/>
                      <a:pt x="551" y="0"/>
                    </a:cubicBezTo>
                    <a:cubicBezTo>
                      <a:pt x="551" y="0"/>
                      <a:pt x="551" y="0"/>
                      <a:pt x="551" y="0"/>
                    </a:cubicBezTo>
                    <a:cubicBezTo>
                      <a:pt x="551" y="56"/>
                      <a:pt x="551" y="56"/>
                      <a:pt x="551" y="56"/>
                    </a:cubicBezTo>
                    <a:cubicBezTo>
                      <a:pt x="551" y="72"/>
                      <a:pt x="538" y="85"/>
                      <a:pt x="522" y="85"/>
                    </a:cubicBezTo>
                    <a:cubicBezTo>
                      <a:pt x="506" y="85"/>
                      <a:pt x="493" y="72"/>
                      <a:pt x="493" y="56"/>
                    </a:cubicBezTo>
                    <a:cubicBezTo>
                      <a:pt x="493" y="0"/>
                      <a:pt x="493" y="0"/>
                      <a:pt x="493" y="0"/>
                    </a:cubicBezTo>
                    <a:cubicBezTo>
                      <a:pt x="493" y="0"/>
                      <a:pt x="493" y="0"/>
                      <a:pt x="493" y="0"/>
                    </a:cubicBezTo>
                    <a:cubicBezTo>
                      <a:pt x="427" y="4"/>
                      <a:pt x="365" y="20"/>
                      <a:pt x="308" y="46"/>
                    </a:cubicBezTo>
                    <a:cubicBezTo>
                      <a:pt x="307" y="46"/>
                      <a:pt x="307" y="46"/>
                      <a:pt x="307" y="46"/>
                    </a:cubicBezTo>
                    <a:cubicBezTo>
                      <a:pt x="304" y="47"/>
                      <a:pt x="301" y="49"/>
                      <a:pt x="297" y="50"/>
                    </a:cubicBezTo>
                    <a:cubicBezTo>
                      <a:pt x="297" y="51"/>
                      <a:pt x="296" y="51"/>
                      <a:pt x="295" y="51"/>
                    </a:cubicBezTo>
                    <a:cubicBezTo>
                      <a:pt x="293" y="52"/>
                      <a:pt x="291" y="54"/>
                      <a:pt x="289" y="55"/>
                    </a:cubicBezTo>
                    <a:cubicBezTo>
                      <a:pt x="125" y="137"/>
                      <a:pt x="10" y="303"/>
                      <a:pt x="0" y="496"/>
                    </a:cubicBezTo>
                    <a:cubicBezTo>
                      <a:pt x="55" y="496"/>
                      <a:pt x="55" y="496"/>
                      <a:pt x="55" y="496"/>
                    </a:cubicBezTo>
                    <a:cubicBezTo>
                      <a:pt x="71" y="496"/>
                      <a:pt x="84" y="509"/>
                      <a:pt x="84" y="526"/>
                    </a:cubicBezTo>
                    <a:cubicBezTo>
                      <a:pt x="84" y="542"/>
                      <a:pt x="71" y="555"/>
                      <a:pt x="55" y="555"/>
                    </a:cubicBezTo>
                    <a:cubicBezTo>
                      <a:pt x="0" y="555"/>
                      <a:pt x="0" y="555"/>
                      <a:pt x="0" y="555"/>
                    </a:cubicBezTo>
                    <a:cubicBezTo>
                      <a:pt x="13" y="788"/>
                      <a:pt x="179" y="980"/>
                      <a:pt x="399" y="1034"/>
                    </a:cubicBezTo>
                    <a:cubicBezTo>
                      <a:pt x="399" y="1034"/>
                      <a:pt x="399" y="1034"/>
                      <a:pt x="399" y="1034"/>
                    </a:cubicBezTo>
                    <a:cubicBezTo>
                      <a:pt x="402" y="1035"/>
                      <a:pt x="406" y="1035"/>
                      <a:pt x="409" y="1036"/>
                    </a:cubicBezTo>
                    <a:cubicBezTo>
                      <a:pt x="410" y="1036"/>
                      <a:pt x="411" y="1036"/>
                      <a:pt x="412" y="1037"/>
                    </a:cubicBezTo>
                    <a:cubicBezTo>
                      <a:pt x="415" y="1037"/>
                      <a:pt x="418" y="1038"/>
                      <a:pt x="421" y="1039"/>
                    </a:cubicBezTo>
                    <a:cubicBezTo>
                      <a:pt x="422" y="1039"/>
                      <a:pt x="424" y="1039"/>
                      <a:pt x="425" y="1039"/>
                    </a:cubicBezTo>
                    <a:cubicBezTo>
                      <a:pt x="428" y="1040"/>
                      <a:pt x="430" y="1040"/>
                      <a:pt x="432" y="1041"/>
                    </a:cubicBezTo>
                    <a:cubicBezTo>
                      <a:pt x="435" y="1041"/>
                      <a:pt x="437" y="1041"/>
                      <a:pt x="440" y="1042"/>
                    </a:cubicBezTo>
                    <a:cubicBezTo>
                      <a:pt x="441" y="1042"/>
                      <a:pt x="443" y="1042"/>
                      <a:pt x="444" y="1043"/>
                    </a:cubicBezTo>
                    <a:cubicBezTo>
                      <a:pt x="448" y="1043"/>
                      <a:pt x="451" y="1044"/>
                      <a:pt x="455" y="1044"/>
                    </a:cubicBezTo>
                    <a:cubicBezTo>
                      <a:pt x="456" y="1044"/>
                      <a:pt x="456" y="1044"/>
                      <a:pt x="456" y="1044"/>
                    </a:cubicBezTo>
                    <a:cubicBezTo>
                      <a:pt x="469" y="1046"/>
                      <a:pt x="483" y="1047"/>
                      <a:pt x="496" y="1048"/>
                    </a:cubicBezTo>
                    <a:cubicBezTo>
                      <a:pt x="496" y="1048"/>
                      <a:pt x="496" y="1048"/>
                      <a:pt x="496" y="1048"/>
                    </a:cubicBezTo>
                    <a:cubicBezTo>
                      <a:pt x="496" y="992"/>
                      <a:pt x="496" y="992"/>
                      <a:pt x="496" y="992"/>
                    </a:cubicBezTo>
                    <a:cubicBezTo>
                      <a:pt x="496" y="976"/>
                      <a:pt x="509" y="963"/>
                      <a:pt x="525" y="963"/>
                    </a:cubicBezTo>
                    <a:cubicBezTo>
                      <a:pt x="541" y="963"/>
                      <a:pt x="554" y="976"/>
                      <a:pt x="554" y="992"/>
                    </a:cubicBezTo>
                    <a:cubicBezTo>
                      <a:pt x="554" y="1048"/>
                      <a:pt x="554" y="1048"/>
                      <a:pt x="554" y="1048"/>
                    </a:cubicBezTo>
                    <a:cubicBezTo>
                      <a:pt x="554" y="1048"/>
                      <a:pt x="554" y="1048"/>
                      <a:pt x="554" y="1048"/>
                    </a:cubicBezTo>
                    <a:cubicBezTo>
                      <a:pt x="822" y="1032"/>
                      <a:pt x="1035" y="818"/>
                      <a:pt x="1048" y="551"/>
                    </a:cubicBezTo>
                    <a:close/>
                    <a:moveTo>
                      <a:pt x="92" y="277"/>
                    </a:moveTo>
                    <a:cubicBezTo>
                      <a:pt x="100" y="263"/>
                      <a:pt x="118" y="258"/>
                      <a:pt x="132" y="266"/>
                    </a:cubicBezTo>
                    <a:cubicBezTo>
                      <a:pt x="146" y="274"/>
                      <a:pt x="150" y="292"/>
                      <a:pt x="142" y="306"/>
                    </a:cubicBezTo>
                    <a:cubicBezTo>
                      <a:pt x="134" y="320"/>
                      <a:pt x="117" y="324"/>
                      <a:pt x="103" y="316"/>
                    </a:cubicBezTo>
                    <a:cubicBezTo>
                      <a:pt x="89" y="308"/>
                      <a:pt x="84" y="291"/>
                      <a:pt x="92" y="277"/>
                    </a:cubicBezTo>
                    <a:close/>
                    <a:moveTo>
                      <a:pt x="133" y="785"/>
                    </a:moveTo>
                    <a:cubicBezTo>
                      <a:pt x="119" y="793"/>
                      <a:pt x="102" y="788"/>
                      <a:pt x="94" y="774"/>
                    </a:cubicBezTo>
                    <a:cubicBezTo>
                      <a:pt x="86" y="760"/>
                      <a:pt x="90" y="742"/>
                      <a:pt x="104" y="734"/>
                    </a:cubicBezTo>
                    <a:cubicBezTo>
                      <a:pt x="118" y="726"/>
                      <a:pt x="136" y="731"/>
                      <a:pt x="144" y="745"/>
                    </a:cubicBezTo>
                    <a:cubicBezTo>
                      <a:pt x="152" y="759"/>
                      <a:pt x="147" y="777"/>
                      <a:pt x="133" y="785"/>
                    </a:cubicBezTo>
                    <a:close/>
                    <a:moveTo>
                      <a:pt x="731" y="103"/>
                    </a:moveTo>
                    <a:cubicBezTo>
                      <a:pt x="739" y="89"/>
                      <a:pt x="757" y="84"/>
                      <a:pt x="771" y="93"/>
                    </a:cubicBezTo>
                    <a:cubicBezTo>
                      <a:pt x="785" y="101"/>
                      <a:pt x="789" y="118"/>
                      <a:pt x="781" y="132"/>
                    </a:cubicBezTo>
                    <a:cubicBezTo>
                      <a:pt x="773" y="146"/>
                      <a:pt x="756" y="151"/>
                      <a:pt x="742" y="143"/>
                    </a:cubicBezTo>
                    <a:cubicBezTo>
                      <a:pt x="728" y="135"/>
                      <a:pt x="723" y="117"/>
                      <a:pt x="731" y="103"/>
                    </a:cubicBezTo>
                    <a:close/>
                    <a:moveTo>
                      <a:pt x="273" y="94"/>
                    </a:moveTo>
                    <a:cubicBezTo>
                      <a:pt x="287" y="86"/>
                      <a:pt x="305" y="91"/>
                      <a:pt x="313" y="105"/>
                    </a:cubicBezTo>
                    <a:cubicBezTo>
                      <a:pt x="321" y="119"/>
                      <a:pt x="316" y="136"/>
                      <a:pt x="303" y="144"/>
                    </a:cubicBezTo>
                    <a:cubicBezTo>
                      <a:pt x="289" y="152"/>
                      <a:pt x="271" y="148"/>
                      <a:pt x="263" y="134"/>
                    </a:cubicBezTo>
                    <a:cubicBezTo>
                      <a:pt x="255" y="120"/>
                      <a:pt x="260" y="102"/>
                      <a:pt x="273" y="94"/>
                    </a:cubicBezTo>
                    <a:close/>
                    <a:moveTo>
                      <a:pt x="316" y="945"/>
                    </a:moveTo>
                    <a:cubicBezTo>
                      <a:pt x="308" y="959"/>
                      <a:pt x="290" y="963"/>
                      <a:pt x="276" y="955"/>
                    </a:cubicBezTo>
                    <a:cubicBezTo>
                      <a:pt x="262" y="947"/>
                      <a:pt x="258" y="930"/>
                      <a:pt x="266" y="916"/>
                    </a:cubicBezTo>
                    <a:cubicBezTo>
                      <a:pt x="274" y="902"/>
                      <a:pt x="291" y="897"/>
                      <a:pt x="305" y="905"/>
                    </a:cubicBezTo>
                    <a:cubicBezTo>
                      <a:pt x="319" y="913"/>
                      <a:pt x="324" y="931"/>
                      <a:pt x="316" y="945"/>
                    </a:cubicBezTo>
                    <a:close/>
                    <a:moveTo>
                      <a:pt x="773" y="954"/>
                    </a:moveTo>
                    <a:cubicBezTo>
                      <a:pt x="760" y="962"/>
                      <a:pt x="742" y="957"/>
                      <a:pt x="734" y="943"/>
                    </a:cubicBezTo>
                    <a:cubicBezTo>
                      <a:pt x="726" y="929"/>
                      <a:pt x="731" y="911"/>
                      <a:pt x="744" y="903"/>
                    </a:cubicBezTo>
                    <a:cubicBezTo>
                      <a:pt x="758" y="895"/>
                      <a:pt x="776" y="900"/>
                      <a:pt x="784" y="914"/>
                    </a:cubicBezTo>
                    <a:cubicBezTo>
                      <a:pt x="792" y="928"/>
                      <a:pt x="787" y="946"/>
                      <a:pt x="773" y="954"/>
                    </a:cubicBezTo>
                    <a:close/>
                    <a:moveTo>
                      <a:pt x="804" y="322"/>
                    </a:moveTo>
                    <a:cubicBezTo>
                      <a:pt x="571" y="521"/>
                      <a:pt x="571" y="521"/>
                      <a:pt x="571" y="521"/>
                    </a:cubicBezTo>
                    <a:cubicBezTo>
                      <a:pt x="571" y="522"/>
                      <a:pt x="571" y="522"/>
                      <a:pt x="571" y="523"/>
                    </a:cubicBezTo>
                    <a:cubicBezTo>
                      <a:pt x="571" y="549"/>
                      <a:pt x="550" y="570"/>
                      <a:pt x="524" y="570"/>
                    </a:cubicBezTo>
                    <a:cubicBezTo>
                      <a:pt x="499" y="570"/>
                      <a:pt x="478" y="550"/>
                      <a:pt x="477" y="525"/>
                    </a:cubicBezTo>
                    <a:cubicBezTo>
                      <a:pt x="329" y="423"/>
                      <a:pt x="329" y="423"/>
                      <a:pt x="329" y="423"/>
                    </a:cubicBezTo>
                    <a:cubicBezTo>
                      <a:pt x="320" y="417"/>
                      <a:pt x="318" y="406"/>
                      <a:pt x="323" y="397"/>
                    </a:cubicBezTo>
                    <a:cubicBezTo>
                      <a:pt x="329" y="389"/>
                      <a:pt x="340" y="386"/>
                      <a:pt x="349" y="391"/>
                    </a:cubicBezTo>
                    <a:cubicBezTo>
                      <a:pt x="507" y="479"/>
                      <a:pt x="507" y="479"/>
                      <a:pt x="507" y="479"/>
                    </a:cubicBezTo>
                    <a:cubicBezTo>
                      <a:pt x="512" y="477"/>
                      <a:pt x="518" y="476"/>
                      <a:pt x="524" y="476"/>
                    </a:cubicBezTo>
                    <a:cubicBezTo>
                      <a:pt x="528" y="476"/>
                      <a:pt x="533" y="476"/>
                      <a:pt x="537" y="477"/>
                    </a:cubicBezTo>
                    <a:cubicBezTo>
                      <a:pt x="781" y="293"/>
                      <a:pt x="781" y="293"/>
                      <a:pt x="781" y="293"/>
                    </a:cubicBezTo>
                    <a:cubicBezTo>
                      <a:pt x="789" y="287"/>
                      <a:pt x="801" y="288"/>
                      <a:pt x="807" y="296"/>
                    </a:cubicBezTo>
                    <a:cubicBezTo>
                      <a:pt x="814" y="304"/>
                      <a:pt x="812" y="316"/>
                      <a:pt x="804" y="322"/>
                    </a:cubicBezTo>
                    <a:close/>
                    <a:moveTo>
                      <a:pt x="915" y="263"/>
                    </a:moveTo>
                    <a:cubicBezTo>
                      <a:pt x="928" y="255"/>
                      <a:pt x="946" y="260"/>
                      <a:pt x="954" y="274"/>
                    </a:cubicBezTo>
                    <a:cubicBezTo>
                      <a:pt x="962" y="288"/>
                      <a:pt x="958" y="306"/>
                      <a:pt x="944" y="314"/>
                    </a:cubicBezTo>
                    <a:cubicBezTo>
                      <a:pt x="930" y="322"/>
                      <a:pt x="912" y="317"/>
                      <a:pt x="904" y="303"/>
                    </a:cubicBezTo>
                    <a:cubicBezTo>
                      <a:pt x="896" y="289"/>
                      <a:pt x="901" y="271"/>
                      <a:pt x="915" y="263"/>
                    </a:cubicBezTo>
                    <a:close/>
                    <a:moveTo>
                      <a:pt x="956" y="771"/>
                    </a:moveTo>
                    <a:cubicBezTo>
                      <a:pt x="948" y="785"/>
                      <a:pt x="930" y="790"/>
                      <a:pt x="916" y="782"/>
                    </a:cubicBezTo>
                    <a:cubicBezTo>
                      <a:pt x="902" y="774"/>
                      <a:pt x="898" y="756"/>
                      <a:pt x="906" y="742"/>
                    </a:cubicBezTo>
                    <a:cubicBezTo>
                      <a:pt x="914" y="728"/>
                      <a:pt x="931" y="723"/>
                      <a:pt x="945" y="731"/>
                    </a:cubicBezTo>
                    <a:cubicBezTo>
                      <a:pt x="959" y="739"/>
                      <a:pt x="964" y="757"/>
                      <a:pt x="956" y="7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5" name="TextBox 4">
            <a:extLst>
              <a:ext uri="{FF2B5EF4-FFF2-40B4-BE49-F238E27FC236}">
                <a16:creationId xmlns:a16="http://schemas.microsoft.com/office/drawing/2014/main" id="{5960F260-EC70-DF44-BBF6-9E74F2C12CC6}"/>
              </a:ext>
            </a:extLst>
          </p:cNvPr>
          <p:cNvSpPr txBox="1"/>
          <p:nvPr/>
        </p:nvSpPr>
        <p:spPr>
          <a:xfrm>
            <a:off x="6184399" y="627193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402307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19878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7"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23004" y="549186"/>
            <a:ext cx="11082528" cy="997196"/>
          </a:xfrm>
        </p:spPr>
        <p:txBody>
          <a:bodyPr vert="horz"/>
          <a:lstStyle/>
          <a:p>
            <a:r>
              <a:rPr lang="en-US" sz="3600" dirty="0"/>
              <a:t>Prerequisite knowledge on few techniques and familiarity with domain solicited</a:t>
            </a:r>
          </a:p>
        </p:txBody>
      </p:sp>
      <p:cxnSp>
        <p:nvCxnSpPr>
          <p:cNvPr id="8" name="Straight Connector 7"/>
          <p:cNvCxnSpPr/>
          <p:nvPr/>
        </p:nvCxnSpPr>
        <p:spPr>
          <a:xfrm>
            <a:off x="12293684" y="1530312"/>
            <a:ext cx="44824" cy="49843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54D3DC2-8B04-0747-B336-A3EB864091AC}"/>
              </a:ext>
            </a:extLst>
          </p:cNvPr>
          <p:cNvSpPr/>
          <p:nvPr/>
        </p:nvSpPr>
        <p:spPr>
          <a:xfrm>
            <a:off x="3289577" y="2218929"/>
            <a:ext cx="251455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22" name="TextBox 21">
            <a:extLst>
              <a:ext uri="{FF2B5EF4-FFF2-40B4-BE49-F238E27FC236}">
                <a16:creationId xmlns:a16="http://schemas.microsoft.com/office/drawing/2014/main" id="{D7FAACEC-4BAE-A747-88D8-0E87C5BDE51F}"/>
              </a:ext>
            </a:extLst>
          </p:cNvPr>
          <p:cNvSpPr txBox="1"/>
          <p:nvPr/>
        </p:nvSpPr>
        <p:spPr>
          <a:xfrm>
            <a:off x="3298307" y="2218928"/>
            <a:ext cx="2498800"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b="1" dirty="0">
              <a:solidFill>
                <a:srgbClr val="29BA74"/>
              </a:solidFill>
            </a:endParaRPr>
          </a:p>
          <a:p>
            <a:pPr algn="ctr"/>
            <a:endParaRPr lang="en-US" sz="1200" dirty="0">
              <a:solidFill>
                <a:srgbClr val="29BA74"/>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ea typeface="+mn-ea"/>
                <a:cs typeface="+mn-cs"/>
              </a:rPr>
              <a:t>JavaScript</a:t>
            </a:r>
            <a:r>
              <a:rPr kumimoji="0" lang="en-US" sz="1200" b="0" i="0" u="none" strike="noStrike" kern="1200" cap="none" spc="0" normalizeH="0" baseline="0" noProof="0" dirty="0">
                <a:ln>
                  <a:noFill/>
                </a:ln>
                <a:solidFill>
                  <a:srgbClr val="575757"/>
                </a:solidFill>
                <a:effectLst/>
                <a:uLnTx/>
                <a:uFillTx/>
                <a:ea typeface="+mn-ea"/>
                <a:cs typeface="+mn-cs"/>
              </a:rPr>
              <a:t> is a scripting language that enables you to create dynamic pages.</a:t>
            </a:r>
          </a:p>
          <a:p>
            <a:endParaRPr lang="en-US" sz="1200" dirty="0">
              <a:solidFill>
                <a:srgbClr val="29BA74"/>
              </a:solidFill>
              <a:hlinkClick r:id="rId8"/>
            </a:endParaRPr>
          </a:p>
          <a:p>
            <a:pPr algn="ctr">
              <a:lnSpc>
                <a:spcPct val="150000"/>
              </a:lnSpc>
            </a:pPr>
            <a:endParaRPr lang="en-US" sz="1200" dirty="0">
              <a:solidFill>
                <a:schemeClr val="accent6">
                  <a:lumMod val="75000"/>
                </a:schemeClr>
              </a:solidFill>
              <a:hlinkClick r:id="rId9">
                <a:extLst>
                  <a:ext uri="{A12FA001-AC4F-418D-AE19-62706E023703}">
                    <ahyp:hlinkClr xmlns:ahyp="http://schemas.microsoft.com/office/drawing/2018/hyperlinkcolor" val="tx"/>
                  </a:ext>
                </a:extLst>
              </a:hlinkClick>
            </a:endParaRPr>
          </a:p>
        </p:txBody>
      </p:sp>
      <p:sp>
        <p:nvSpPr>
          <p:cNvPr id="27" name="Rectangle 26">
            <a:extLst>
              <a:ext uri="{FF2B5EF4-FFF2-40B4-BE49-F238E27FC236}">
                <a16:creationId xmlns:a16="http://schemas.microsoft.com/office/drawing/2014/main" id="{0B6F3103-749B-C241-8C7A-780932C17F56}"/>
              </a:ext>
            </a:extLst>
          </p:cNvPr>
          <p:cNvSpPr/>
          <p:nvPr/>
        </p:nvSpPr>
        <p:spPr>
          <a:xfrm>
            <a:off x="631876" y="2218930"/>
            <a:ext cx="251455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28" name="TextBox 27">
            <a:extLst>
              <a:ext uri="{FF2B5EF4-FFF2-40B4-BE49-F238E27FC236}">
                <a16:creationId xmlns:a16="http://schemas.microsoft.com/office/drawing/2014/main" id="{85A33088-728C-D84D-B50F-BB52821812A8}"/>
              </a:ext>
            </a:extLst>
          </p:cNvPr>
          <p:cNvSpPr txBox="1"/>
          <p:nvPr/>
        </p:nvSpPr>
        <p:spPr>
          <a:xfrm>
            <a:off x="640606" y="2210837"/>
            <a:ext cx="2498800"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endParaRPr lang="en-US" sz="1200" dirty="0">
              <a:solidFill>
                <a:srgbClr val="29BA74"/>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29BA74"/>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B050"/>
                </a:solidFill>
              </a:rPr>
              <a:t>HTML</a:t>
            </a:r>
            <a:r>
              <a:rPr lang="en-US" sz="1200" dirty="0">
                <a:solidFill>
                  <a:srgbClr val="575757"/>
                </a:solidFill>
              </a:rPr>
              <a:t>(Hypertext markup language) and </a:t>
            </a:r>
            <a:r>
              <a:rPr lang="en-US" sz="1200" b="1" dirty="0">
                <a:solidFill>
                  <a:srgbClr val="00B050"/>
                </a:solidFill>
              </a:rPr>
              <a:t>CSS</a:t>
            </a:r>
            <a:r>
              <a:rPr lang="en-US" sz="1200" dirty="0">
                <a:solidFill>
                  <a:srgbClr val="575757"/>
                </a:solidFill>
              </a:rPr>
              <a:t>(Cascading style sheets) are two of the core technologies for building Web pages.</a:t>
            </a:r>
            <a:r>
              <a:rPr kumimoji="0" lang="en-US" sz="1200" b="0" i="0" u="none" strike="noStrike" kern="1200" cap="none" spc="0" normalizeH="0" baseline="0" noProof="0" dirty="0">
                <a:ln>
                  <a:noFill/>
                </a:ln>
                <a:solidFill>
                  <a:srgbClr val="575757"/>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75757"/>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ea typeface="+mn-ea"/>
                <a:cs typeface="+mn-cs"/>
              </a:rPr>
              <a:t>HTML provides the structure of the page and CSS provides the visual layout.</a:t>
            </a:r>
            <a:endParaRPr lang="en-US" sz="1200" dirty="0">
              <a:solidFill>
                <a:schemeClr val="tx1"/>
              </a:solidFill>
            </a:endParaRPr>
          </a:p>
          <a:p>
            <a:endParaRPr lang="en-US" sz="1200" dirty="0">
              <a:solidFill>
                <a:schemeClr val="tx1"/>
              </a:solidFill>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sp>
        <p:nvSpPr>
          <p:cNvPr id="29" name="Rectangle 28">
            <a:extLst>
              <a:ext uri="{FF2B5EF4-FFF2-40B4-BE49-F238E27FC236}">
                <a16:creationId xmlns:a16="http://schemas.microsoft.com/office/drawing/2014/main" id="{E0D6609A-E977-884F-AC0F-B6797D031F00}"/>
              </a:ext>
            </a:extLst>
          </p:cNvPr>
          <p:cNvSpPr/>
          <p:nvPr/>
        </p:nvSpPr>
        <p:spPr>
          <a:xfrm>
            <a:off x="5981252" y="2219135"/>
            <a:ext cx="251455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30" name="TextBox 29">
            <a:extLst>
              <a:ext uri="{FF2B5EF4-FFF2-40B4-BE49-F238E27FC236}">
                <a16:creationId xmlns:a16="http://schemas.microsoft.com/office/drawing/2014/main" id="{0AB964BF-D6AB-4B4D-8340-3ED4328CBBB2}"/>
              </a:ext>
            </a:extLst>
          </p:cNvPr>
          <p:cNvSpPr txBox="1"/>
          <p:nvPr/>
        </p:nvSpPr>
        <p:spPr>
          <a:xfrm>
            <a:off x="5987991" y="2123615"/>
            <a:ext cx="2498800"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b="1" dirty="0">
              <a:solidFill>
                <a:srgbClr val="29BA74"/>
              </a:solidFill>
            </a:endParaRPr>
          </a:p>
          <a:p>
            <a:pPr algn="ctr"/>
            <a:endParaRPr lang="en-US" sz="1200" dirty="0">
              <a:solidFill>
                <a:srgbClr val="29BA74"/>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ea typeface="+mn-ea"/>
                <a:cs typeface="+mn-cs"/>
              </a:rPr>
              <a:t>ReactJS</a:t>
            </a:r>
            <a:r>
              <a:rPr kumimoji="0" lang="en-US" sz="1200" b="0" i="0" u="none" strike="noStrike" kern="1200" cap="none" spc="0" normalizeH="0" baseline="0" noProof="0" dirty="0">
                <a:ln>
                  <a:noFill/>
                </a:ln>
                <a:solidFill>
                  <a:srgbClr val="575757"/>
                </a:solidFill>
                <a:effectLst/>
                <a:uLnTx/>
                <a:uFillTx/>
                <a:ea typeface="+mn-ea"/>
                <a:cs typeface="+mn-cs"/>
              </a:rPr>
              <a:t> is an open-source declarative, efficient and flexible JavaScript library for building user interfaces specifically for single-</a:t>
            </a:r>
            <a:r>
              <a:rPr lang="en-US" sz="1200" dirty="0">
                <a:solidFill>
                  <a:srgbClr val="575757"/>
                </a:solidFill>
              </a:rPr>
              <a:t>page ap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rgbClr val="575757"/>
                </a:solidFill>
              </a:rPr>
              <a:t>It </a:t>
            </a:r>
            <a:r>
              <a:rPr lang="en-US" sz="1200" dirty="0">
                <a:solidFill>
                  <a:srgbClr val="575757"/>
                </a:solidFill>
              </a:rPr>
              <a:t>also allows us to create reusable UI components.</a:t>
            </a:r>
            <a:endParaRPr lang="en-US" sz="1200" dirty="0">
              <a:solidFill>
                <a:schemeClr val="tx1"/>
              </a:solidFill>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graphicFrame>
        <p:nvGraphicFramePr>
          <p:cNvPr id="32" name="Table 8">
            <a:extLst>
              <a:ext uri="{FF2B5EF4-FFF2-40B4-BE49-F238E27FC236}">
                <a16:creationId xmlns:a16="http://schemas.microsoft.com/office/drawing/2014/main" id="{1FACBA79-E503-864E-84B2-D5FBE1C4A2EE}"/>
              </a:ext>
            </a:extLst>
          </p:cNvPr>
          <p:cNvGraphicFramePr>
            <a:graphicFrameLocks noGrp="1"/>
          </p:cNvGraphicFramePr>
          <p:nvPr>
            <p:extLst>
              <p:ext uri="{D42A27DB-BD31-4B8C-83A1-F6EECF244321}">
                <p14:modId xmlns:p14="http://schemas.microsoft.com/office/powerpoint/2010/main" val="2150477176"/>
              </p:ext>
            </p:extLst>
          </p:nvPr>
        </p:nvGraphicFramePr>
        <p:xfrm>
          <a:off x="3289218" y="4491650"/>
          <a:ext cx="2515267" cy="1525047"/>
        </p:xfrm>
        <a:graphic>
          <a:graphicData uri="http://schemas.openxmlformats.org/drawingml/2006/table">
            <a:tbl>
              <a:tblPr firstRow="1" bandRow="1">
                <a:tableStyleId>{5C22544A-7EE6-4342-B048-85BDC9FD1C3A}</a:tableStyleId>
              </a:tblPr>
              <a:tblGrid>
                <a:gridCol w="1330764">
                  <a:extLst>
                    <a:ext uri="{9D8B030D-6E8A-4147-A177-3AD203B41FA5}">
                      <a16:colId xmlns:a16="http://schemas.microsoft.com/office/drawing/2014/main" val="1528353097"/>
                    </a:ext>
                  </a:extLst>
                </a:gridCol>
                <a:gridCol w="1184503">
                  <a:extLst>
                    <a:ext uri="{9D8B030D-6E8A-4147-A177-3AD203B41FA5}">
                      <a16:colId xmlns:a16="http://schemas.microsoft.com/office/drawing/2014/main" val="3224155154"/>
                    </a:ext>
                  </a:extLst>
                </a:gridCol>
              </a:tblGrid>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10">
                            <a:extLst>
                              <a:ext uri="{A12FA001-AC4F-418D-AE19-62706E023703}">
                                <ahyp:hlinkClr xmlns:ahyp="http://schemas.microsoft.com/office/drawing/2018/hyperlinkcolor" val="tx"/>
                              </a:ext>
                            </a:extLst>
                          </a:hlinkClick>
                        </a:rPr>
                        <a:t>Grammar &amp; Types</a:t>
                      </a:r>
                      <a:endParaRPr kumimoji="0" lang="en-US" sz="11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11">
                            <a:extLst>
                              <a:ext uri="{A12FA001-AC4F-418D-AE19-62706E023703}">
                                <ahyp:hlinkClr xmlns:ahyp="http://schemas.microsoft.com/office/drawing/2018/hyperlinkcolor" val="tx"/>
                              </a:ext>
                            </a:extLst>
                          </a:hlinkClick>
                        </a:rPr>
                        <a:t>Functions</a:t>
                      </a:r>
                      <a:endParaRPr kumimoji="0" lang="en-US" sz="11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968355204"/>
                  </a:ext>
                </a:extLst>
              </a:tr>
              <a:tr h="4450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12">
                            <a:extLst>
                              <a:ext uri="{A12FA001-AC4F-418D-AE19-62706E023703}">
                                <ahyp:hlinkClr xmlns:ahyp="http://schemas.microsoft.com/office/drawing/2018/hyperlinkcolor" val="tx"/>
                              </a:ext>
                            </a:extLst>
                          </a:hlinkClick>
                        </a:rPr>
                        <a:t>Object Oriented Programing</a:t>
                      </a:r>
                      <a:endParaRPr lang="en-US" sz="11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13">
                            <a:extLst>
                              <a:ext uri="{A12FA001-AC4F-418D-AE19-62706E023703}">
                                <ahyp:hlinkClr xmlns:ahyp="http://schemas.microsoft.com/office/drawing/2018/hyperlinkcolor" val="tx"/>
                              </a:ext>
                            </a:extLst>
                          </a:hlinkClick>
                        </a:rPr>
                        <a:t>Promises</a:t>
                      </a:r>
                      <a:endParaRPr lang="en-US" sz="11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71236996"/>
                  </a:ext>
                </a:extLst>
              </a:tr>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4">
                            <a:extLst>
                              <a:ext uri="{A12FA001-AC4F-418D-AE19-62706E023703}">
                                <ahyp:hlinkClr xmlns:ahyp="http://schemas.microsoft.com/office/drawing/2018/hyperlinkcolor" val="tx"/>
                              </a:ext>
                            </a:extLst>
                          </a:hlinkClick>
                        </a:rPr>
                        <a:t>Data Structure-1</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5">
                            <a:extLst>
                              <a:ext uri="{A12FA001-AC4F-418D-AE19-62706E023703}">
                                <ahyp:hlinkClr xmlns:ahyp="http://schemas.microsoft.com/office/drawing/2018/hyperlinkcolor" val="tx"/>
                              </a:ext>
                            </a:extLst>
                          </a:hlinkClick>
                        </a:rPr>
                        <a:t>Data Structure-2</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r h="3266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6">
                            <a:extLst>
                              <a:ext uri="{A12FA001-AC4F-418D-AE19-62706E023703}">
                                <ahyp:hlinkClr xmlns:ahyp="http://schemas.microsoft.com/office/drawing/2018/hyperlinkcolor" val="tx"/>
                              </a:ext>
                            </a:extLst>
                          </a:hlinkClick>
                        </a:rPr>
                        <a:t>Data Structure-3</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7">
                            <a:extLst>
                              <a:ext uri="{A12FA001-AC4F-418D-AE19-62706E023703}">
                                <ahyp:hlinkClr xmlns:ahyp="http://schemas.microsoft.com/office/drawing/2018/hyperlinkcolor" val="tx"/>
                              </a:ext>
                            </a:extLst>
                          </a:hlinkClick>
                        </a:rPr>
                        <a:t>Module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533577889"/>
                  </a:ext>
                </a:extLst>
              </a:tr>
            </a:tbl>
          </a:graphicData>
        </a:graphic>
      </p:graphicFrame>
      <p:graphicFrame>
        <p:nvGraphicFramePr>
          <p:cNvPr id="33" name="Table 8">
            <a:extLst>
              <a:ext uri="{FF2B5EF4-FFF2-40B4-BE49-F238E27FC236}">
                <a16:creationId xmlns:a16="http://schemas.microsoft.com/office/drawing/2014/main" id="{2847060D-2422-184A-9659-5EAE92FBF372}"/>
              </a:ext>
            </a:extLst>
          </p:cNvPr>
          <p:cNvGraphicFramePr>
            <a:graphicFrameLocks noGrp="1"/>
          </p:cNvGraphicFramePr>
          <p:nvPr>
            <p:extLst>
              <p:ext uri="{D42A27DB-BD31-4B8C-83A1-F6EECF244321}">
                <p14:modId xmlns:p14="http://schemas.microsoft.com/office/powerpoint/2010/main" val="1955089975"/>
              </p:ext>
            </p:extLst>
          </p:nvPr>
        </p:nvGraphicFramePr>
        <p:xfrm>
          <a:off x="629700" y="5684649"/>
          <a:ext cx="2531052" cy="338472"/>
        </p:xfrm>
        <a:graphic>
          <a:graphicData uri="http://schemas.openxmlformats.org/drawingml/2006/table">
            <a:tbl>
              <a:tblPr firstRow="1" bandRow="1">
                <a:tableStyleId>{5C22544A-7EE6-4342-B048-85BDC9FD1C3A}</a:tableStyleId>
              </a:tblPr>
              <a:tblGrid>
                <a:gridCol w="1265526">
                  <a:extLst>
                    <a:ext uri="{9D8B030D-6E8A-4147-A177-3AD203B41FA5}">
                      <a16:colId xmlns:a16="http://schemas.microsoft.com/office/drawing/2014/main" val="1528353097"/>
                    </a:ext>
                  </a:extLst>
                </a:gridCol>
                <a:gridCol w="1265526">
                  <a:extLst>
                    <a:ext uri="{9D8B030D-6E8A-4147-A177-3AD203B41FA5}">
                      <a16:colId xmlns:a16="http://schemas.microsoft.com/office/drawing/2014/main" val="3224155154"/>
                    </a:ext>
                  </a:extLst>
                </a:gridCol>
              </a:tblGrid>
              <a:tr h="3384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hlinkClick r:id="rId18">
                            <a:extLst>
                              <a:ext uri="{A12FA001-AC4F-418D-AE19-62706E023703}">
                                <ahyp:hlinkClr xmlns:ahyp="http://schemas.microsoft.com/office/drawing/2018/hyperlinkcolor" val="tx"/>
                              </a:ext>
                            </a:extLst>
                          </a:hlinkClick>
                        </a:rPr>
                        <a:t>Tutorial Link 1</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100" b="0" dirty="0">
                          <a:solidFill>
                            <a:schemeClr val="bg1"/>
                          </a:solidFill>
                          <a:hlinkClick r:id="rId19">
                            <a:extLst>
                              <a:ext uri="{A12FA001-AC4F-418D-AE19-62706E023703}">
                                <ahyp:hlinkClr xmlns:ahyp="http://schemas.microsoft.com/office/drawing/2018/hyperlinkcolor" val="tx"/>
                              </a:ext>
                            </a:extLst>
                          </a:hlinkClick>
                        </a:rPr>
                        <a:t>Tutorial Link 2</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34" name="Table 8">
            <a:extLst>
              <a:ext uri="{FF2B5EF4-FFF2-40B4-BE49-F238E27FC236}">
                <a16:creationId xmlns:a16="http://schemas.microsoft.com/office/drawing/2014/main" id="{A315B26F-5184-1E40-B5FF-64A6891D906C}"/>
              </a:ext>
            </a:extLst>
          </p:cNvPr>
          <p:cNvGraphicFramePr>
            <a:graphicFrameLocks noGrp="1"/>
          </p:cNvGraphicFramePr>
          <p:nvPr>
            <p:extLst>
              <p:ext uri="{D42A27DB-BD31-4B8C-83A1-F6EECF244321}">
                <p14:modId xmlns:p14="http://schemas.microsoft.com/office/powerpoint/2010/main" val="596961064"/>
              </p:ext>
            </p:extLst>
          </p:nvPr>
        </p:nvGraphicFramePr>
        <p:xfrm>
          <a:off x="5977295" y="5163257"/>
          <a:ext cx="2517598" cy="853440"/>
        </p:xfrm>
        <a:graphic>
          <a:graphicData uri="http://schemas.openxmlformats.org/drawingml/2006/table">
            <a:tbl>
              <a:tblPr firstRow="1" bandRow="1">
                <a:tableStyleId>{5C22544A-7EE6-4342-B048-85BDC9FD1C3A}</a:tableStyleId>
              </a:tblPr>
              <a:tblGrid>
                <a:gridCol w="1258799">
                  <a:extLst>
                    <a:ext uri="{9D8B030D-6E8A-4147-A177-3AD203B41FA5}">
                      <a16:colId xmlns:a16="http://schemas.microsoft.com/office/drawing/2014/main" val="1528353097"/>
                    </a:ext>
                  </a:extLst>
                </a:gridCol>
                <a:gridCol w="1258799">
                  <a:extLst>
                    <a:ext uri="{9D8B030D-6E8A-4147-A177-3AD203B41FA5}">
                      <a16:colId xmlns:a16="http://schemas.microsoft.com/office/drawing/2014/main" val="3224155154"/>
                    </a:ext>
                  </a:extLst>
                </a:gridCol>
              </a:tblGrid>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20">
                            <a:extLst>
                              <a:ext uri="{A12FA001-AC4F-418D-AE19-62706E023703}">
                                <ahyp:hlinkClr xmlns:ahyp="http://schemas.microsoft.com/office/drawing/2018/hyperlinkcolor" val="tx"/>
                              </a:ext>
                            </a:extLst>
                          </a:hlinkClick>
                        </a:rPr>
                        <a:t>React Basics &amp; JSX</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21">
                            <a:extLst>
                              <a:ext uri="{A12FA001-AC4F-418D-AE19-62706E023703}">
                                <ahyp:hlinkClr xmlns:ahyp="http://schemas.microsoft.com/office/drawing/2018/hyperlinkcolor" val="tx"/>
                              </a:ext>
                            </a:extLst>
                          </a:hlinkClick>
                        </a:rPr>
                        <a:t>Components &amp; prop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962030243"/>
                  </a:ext>
                </a:extLst>
              </a:tr>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22">
                            <a:extLst>
                              <a:ext uri="{A12FA001-AC4F-418D-AE19-62706E023703}">
                                <ahyp:hlinkClr xmlns:ahyp="http://schemas.microsoft.com/office/drawing/2018/hyperlinkcolor" val="tx"/>
                              </a:ext>
                            </a:extLst>
                          </a:hlinkClick>
                        </a:rPr>
                        <a:t>State &amp; Life cycle</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23">
                            <a:extLst>
                              <a:ext uri="{A12FA001-AC4F-418D-AE19-62706E023703}">
                                <ahyp:hlinkClr xmlns:ahyp="http://schemas.microsoft.com/office/drawing/2018/hyperlinkcolor" val="tx"/>
                              </a:ext>
                            </a:extLst>
                          </a:hlinkClick>
                        </a:rPr>
                        <a:t>Rendering Element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35" name="Table 15">
            <a:extLst>
              <a:ext uri="{FF2B5EF4-FFF2-40B4-BE49-F238E27FC236}">
                <a16:creationId xmlns:a16="http://schemas.microsoft.com/office/drawing/2014/main" id="{72886AF7-D81B-A04C-8A8E-3B0EBE6E6E32}"/>
              </a:ext>
            </a:extLst>
          </p:cNvPr>
          <p:cNvGraphicFramePr>
            <a:graphicFrameLocks noGrp="1"/>
          </p:cNvGraphicFramePr>
          <p:nvPr>
            <p:extLst>
              <p:ext uri="{D42A27DB-BD31-4B8C-83A1-F6EECF244321}">
                <p14:modId xmlns:p14="http://schemas.microsoft.com/office/powerpoint/2010/main" val="3866857958"/>
              </p:ext>
            </p:extLst>
          </p:nvPr>
        </p:nvGraphicFramePr>
        <p:xfrm>
          <a:off x="3289995" y="1991166"/>
          <a:ext cx="2537907" cy="455111"/>
        </p:xfrm>
        <a:graphic>
          <a:graphicData uri="http://schemas.openxmlformats.org/drawingml/2006/table">
            <a:tbl>
              <a:tblPr firstRow="1" bandRow="1">
                <a:tableStyleId>{5C22544A-7EE6-4342-B048-85BDC9FD1C3A}</a:tableStyleId>
              </a:tblPr>
              <a:tblGrid>
                <a:gridCol w="2537907">
                  <a:extLst>
                    <a:ext uri="{9D8B030D-6E8A-4147-A177-3AD203B41FA5}">
                      <a16:colId xmlns:a16="http://schemas.microsoft.com/office/drawing/2014/main" val="4113390918"/>
                    </a:ext>
                  </a:extLst>
                </a:gridCol>
              </a:tblGrid>
              <a:tr h="455111">
                <a:tc>
                  <a:txBody>
                    <a:bodyPr/>
                    <a:lstStyle/>
                    <a:p>
                      <a:pPr algn="ctr"/>
                      <a:r>
                        <a:rPr lang="en-US" sz="1400" b="1" dirty="0">
                          <a:solidFill>
                            <a:schemeClr val="bg1"/>
                          </a:solidFill>
                        </a:rPr>
                        <a:t>JavaScript</a:t>
                      </a:r>
                      <a:endParaRPr lang="en-US" sz="1400" dirty="0">
                        <a:solidFill>
                          <a:schemeClr val="bg1"/>
                        </a:solidFill>
                      </a:endParaRP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36" name="Table 15">
            <a:extLst>
              <a:ext uri="{FF2B5EF4-FFF2-40B4-BE49-F238E27FC236}">
                <a16:creationId xmlns:a16="http://schemas.microsoft.com/office/drawing/2014/main" id="{1B167CCD-18FF-534D-A3A1-BFB0E01A7695}"/>
              </a:ext>
            </a:extLst>
          </p:cNvPr>
          <p:cNvGraphicFramePr>
            <a:graphicFrameLocks noGrp="1"/>
          </p:cNvGraphicFramePr>
          <p:nvPr>
            <p:extLst>
              <p:ext uri="{D42A27DB-BD31-4B8C-83A1-F6EECF244321}">
                <p14:modId xmlns:p14="http://schemas.microsoft.com/office/powerpoint/2010/main" val="2634516060"/>
              </p:ext>
            </p:extLst>
          </p:nvPr>
        </p:nvGraphicFramePr>
        <p:xfrm>
          <a:off x="623004" y="1991167"/>
          <a:ext cx="2537907" cy="455111"/>
        </p:xfrm>
        <a:graphic>
          <a:graphicData uri="http://schemas.openxmlformats.org/drawingml/2006/table">
            <a:tbl>
              <a:tblPr firstRow="1" bandRow="1">
                <a:tableStyleId>{5C22544A-7EE6-4342-B048-85BDC9FD1C3A}</a:tableStyleId>
              </a:tblPr>
              <a:tblGrid>
                <a:gridCol w="2537907">
                  <a:extLst>
                    <a:ext uri="{9D8B030D-6E8A-4147-A177-3AD203B41FA5}">
                      <a16:colId xmlns:a16="http://schemas.microsoft.com/office/drawing/2014/main" val="4113390918"/>
                    </a:ext>
                  </a:extLst>
                </a:gridCol>
              </a:tblGrid>
              <a:tr h="4551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rPr>
                        <a:t>HTML/CSS</a:t>
                      </a: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37" name="Table 15">
            <a:extLst>
              <a:ext uri="{FF2B5EF4-FFF2-40B4-BE49-F238E27FC236}">
                <a16:creationId xmlns:a16="http://schemas.microsoft.com/office/drawing/2014/main" id="{2458EF73-4D0C-F447-938E-A1E6957E2AAE}"/>
              </a:ext>
            </a:extLst>
          </p:cNvPr>
          <p:cNvGraphicFramePr>
            <a:graphicFrameLocks noGrp="1"/>
          </p:cNvGraphicFramePr>
          <p:nvPr>
            <p:extLst>
              <p:ext uri="{D42A27DB-BD31-4B8C-83A1-F6EECF244321}">
                <p14:modId xmlns:p14="http://schemas.microsoft.com/office/powerpoint/2010/main" val="3558710806"/>
              </p:ext>
            </p:extLst>
          </p:nvPr>
        </p:nvGraphicFramePr>
        <p:xfrm>
          <a:off x="5956986" y="1991372"/>
          <a:ext cx="2537907" cy="455111"/>
        </p:xfrm>
        <a:graphic>
          <a:graphicData uri="http://schemas.openxmlformats.org/drawingml/2006/table">
            <a:tbl>
              <a:tblPr firstRow="1" bandRow="1">
                <a:tableStyleId>{5C22544A-7EE6-4342-B048-85BDC9FD1C3A}</a:tableStyleId>
              </a:tblPr>
              <a:tblGrid>
                <a:gridCol w="2537907">
                  <a:extLst>
                    <a:ext uri="{9D8B030D-6E8A-4147-A177-3AD203B41FA5}">
                      <a16:colId xmlns:a16="http://schemas.microsoft.com/office/drawing/2014/main" val="4113390918"/>
                    </a:ext>
                  </a:extLst>
                </a:gridCol>
              </a:tblGrid>
              <a:tr h="455111">
                <a:tc>
                  <a:txBody>
                    <a:bodyPr/>
                    <a:lstStyle/>
                    <a:p>
                      <a:pPr algn="ctr"/>
                      <a:r>
                        <a:rPr lang="en-US" sz="1400" b="1" dirty="0">
                          <a:solidFill>
                            <a:schemeClr val="bg1"/>
                          </a:solidFill>
                        </a:rPr>
                        <a:t>ReactJS</a:t>
                      </a:r>
                    </a:p>
                  </a:txBody>
                  <a:tcPr anchor="ctr">
                    <a:solidFill>
                      <a:schemeClr val="tx2"/>
                    </a:solidFill>
                  </a:tcPr>
                </a:tc>
                <a:extLst>
                  <a:ext uri="{0D108BD9-81ED-4DB2-BD59-A6C34878D82A}">
                    <a16:rowId xmlns:a16="http://schemas.microsoft.com/office/drawing/2014/main" val="1288942900"/>
                  </a:ext>
                </a:extLst>
              </a:tr>
            </a:tbl>
          </a:graphicData>
        </a:graphic>
      </p:graphicFrame>
      <p:pic>
        <p:nvPicPr>
          <p:cNvPr id="38" name="Picture 112" descr="Learn JavaScript in 15 Minutes – Career &amp;amp; Internship Center | University of  Washington">
            <a:extLst>
              <a:ext uri="{FF2B5EF4-FFF2-40B4-BE49-F238E27FC236}">
                <a16:creationId xmlns:a16="http://schemas.microsoft.com/office/drawing/2014/main" id="{558E4DE5-1029-6B41-BF1A-7A2887610DC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193071" y="2790181"/>
            <a:ext cx="763445" cy="70639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9">
            <a:extLst>
              <a:ext uri="{FF2B5EF4-FFF2-40B4-BE49-F238E27FC236}">
                <a16:creationId xmlns:a16="http://schemas.microsoft.com/office/drawing/2014/main" id="{ED826200-9F2A-6A44-9C2F-F22E0AC8207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22545" y="2712113"/>
            <a:ext cx="818966" cy="78446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Logo, icon&#10;&#10;Description automatically generated">
            <a:extLst>
              <a:ext uri="{FF2B5EF4-FFF2-40B4-BE49-F238E27FC236}">
                <a16:creationId xmlns:a16="http://schemas.microsoft.com/office/drawing/2014/main" id="{6B615D5E-0BAB-8A40-AFDF-CA9CF7BA73C6}"/>
              </a:ext>
            </a:extLst>
          </p:cNvPr>
          <p:cNvPicPr>
            <a:picLocks noChangeAspect="1"/>
          </p:cNvPicPr>
          <p:nvPr/>
        </p:nvPicPr>
        <p:blipFill>
          <a:blip r:embed="rId26"/>
          <a:stretch>
            <a:fillRect/>
          </a:stretch>
        </p:blipFill>
        <p:spPr>
          <a:xfrm>
            <a:off x="1810344" y="2651358"/>
            <a:ext cx="890722" cy="890722"/>
          </a:xfrm>
          <a:prstGeom prst="rect">
            <a:avLst/>
          </a:prstGeom>
        </p:spPr>
      </p:pic>
      <p:pic>
        <p:nvPicPr>
          <p:cNvPr id="41" name="Picture 40" descr="Icon&#10;&#10;Description automatically generated">
            <a:extLst>
              <a:ext uri="{FF2B5EF4-FFF2-40B4-BE49-F238E27FC236}">
                <a16:creationId xmlns:a16="http://schemas.microsoft.com/office/drawing/2014/main" id="{6FB1E744-2F8D-3B4E-B7ED-72B4AA856A72}"/>
              </a:ext>
            </a:extLst>
          </p:cNvPr>
          <p:cNvPicPr>
            <a:picLocks noChangeAspect="1"/>
          </p:cNvPicPr>
          <p:nvPr/>
        </p:nvPicPr>
        <p:blipFill>
          <a:blip r:embed="rId27"/>
          <a:stretch>
            <a:fillRect/>
          </a:stretch>
        </p:blipFill>
        <p:spPr>
          <a:xfrm>
            <a:off x="6825331" y="2651358"/>
            <a:ext cx="821643" cy="821643"/>
          </a:xfrm>
          <a:prstGeom prst="rect">
            <a:avLst/>
          </a:prstGeom>
        </p:spPr>
      </p:pic>
      <p:sp>
        <p:nvSpPr>
          <p:cNvPr id="42" name="Rectangle 41">
            <a:extLst>
              <a:ext uri="{FF2B5EF4-FFF2-40B4-BE49-F238E27FC236}">
                <a16:creationId xmlns:a16="http://schemas.microsoft.com/office/drawing/2014/main" id="{07DEAA52-FAB6-0F4A-9EEB-B81F160CCEE9}"/>
              </a:ext>
            </a:extLst>
          </p:cNvPr>
          <p:cNvSpPr/>
          <p:nvPr/>
        </p:nvSpPr>
        <p:spPr>
          <a:xfrm>
            <a:off x="8648243" y="2219135"/>
            <a:ext cx="2514550" cy="3797769"/>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43" name="TextBox 42">
            <a:extLst>
              <a:ext uri="{FF2B5EF4-FFF2-40B4-BE49-F238E27FC236}">
                <a16:creationId xmlns:a16="http://schemas.microsoft.com/office/drawing/2014/main" id="{67B20471-3824-A740-B210-59DEC96D147D}"/>
              </a:ext>
            </a:extLst>
          </p:cNvPr>
          <p:cNvSpPr txBox="1"/>
          <p:nvPr/>
        </p:nvSpPr>
        <p:spPr>
          <a:xfrm>
            <a:off x="8654982" y="2123615"/>
            <a:ext cx="2498800" cy="3797769"/>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rgbClr val="29BA74"/>
              </a:solidFill>
            </a:endParaRPr>
          </a:p>
          <a:p>
            <a:pPr algn="ctr"/>
            <a:endParaRPr lang="en-US" sz="1200" b="1" dirty="0">
              <a:solidFill>
                <a:srgbClr val="29BA74"/>
              </a:solidFill>
            </a:endParaRPr>
          </a:p>
          <a:p>
            <a:pPr algn="ctr"/>
            <a:endParaRPr lang="en-US" sz="1200" dirty="0">
              <a:solidFill>
                <a:srgbClr val="29BA74"/>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B050"/>
              </a:solidFill>
              <a:effectLst/>
              <a:uLnTx/>
              <a:uFillTx/>
              <a:ea typeface="+mn-ea"/>
              <a:cs typeface="+mn-cs"/>
            </a:endParaRPr>
          </a:p>
          <a:p>
            <a:pPr lvl="0">
              <a:defRPr/>
            </a:pPr>
            <a:r>
              <a:rPr lang="en-US" sz="1200" b="1" dirty="0">
                <a:solidFill>
                  <a:srgbClr val="00B050"/>
                </a:solidFill>
              </a:rPr>
              <a:t>Redux</a:t>
            </a:r>
            <a:r>
              <a:rPr lang="en-US" sz="1200" dirty="0">
                <a:solidFill>
                  <a:srgbClr val="575757"/>
                </a:solidFill>
              </a:rPr>
              <a:t> is an open-source JavaScript library for managing application state.  It maintains the state of entire application in a single immutable state tree which can't be changed directly.</a:t>
            </a: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2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graphicFrame>
        <p:nvGraphicFramePr>
          <p:cNvPr id="44" name="Table 8">
            <a:extLst>
              <a:ext uri="{FF2B5EF4-FFF2-40B4-BE49-F238E27FC236}">
                <a16:creationId xmlns:a16="http://schemas.microsoft.com/office/drawing/2014/main" id="{96C7D459-7A4E-1E44-A210-EBE0116B92BB}"/>
              </a:ext>
            </a:extLst>
          </p:cNvPr>
          <p:cNvGraphicFramePr>
            <a:graphicFrameLocks noGrp="1"/>
          </p:cNvGraphicFramePr>
          <p:nvPr>
            <p:extLst>
              <p:ext uri="{D42A27DB-BD31-4B8C-83A1-F6EECF244321}">
                <p14:modId xmlns:p14="http://schemas.microsoft.com/office/powerpoint/2010/main" val="1861134985"/>
              </p:ext>
            </p:extLst>
          </p:nvPr>
        </p:nvGraphicFramePr>
        <p:xfrm>
          <a:off x="8654982" y="5326812"/>
          <a:ext cx="2517598" cy="690092"/>
        </p:xfrm>
        <a:graphic>
          <a:graphicData uri="http://schemas.openxmlformats.org/drawingml/2006/table">
            <a:tbl>
              <a:tblPr firstRow="1" bandRow="1">
                <a:tableStyleId>{5C22544A-7EE6-4342-B048-85BDC9FD1C3A}</a:tableStyleId>
              </a:tblPr>
              <a:tblGrid>
                <a:gridCol w="1258799">
                  <a:extLst>
                    <a:ext uri="{9D8B030D-6E8A-4147-A177-3AD203B41FA5}">
                      <a16:colId xmlns:a16="http://schemas.microsoft.com/office/drawing/2014/main" val="1528353097"/>
                    </a:ext>
                  </a:extLst>
                </a:gridCol>
                <a:gridCol w="1258799">
                  <a:extLst>
                    <a:ext uri="{9D8B030D-6E8A-4147-A177-3AD203B41FA5}">
                      <a16:colId xmlns:a16="http://schemas.microsoft.com/office/drawing/2014/main" val="3224155154"/>
                    </a:ext>
                  </a:extLst>
                </a:gridCol>
              </a:tblGrid>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28">
                            <a:extLst>
                              <a:ext uri="{A12FA001-AC4F-418D-AE19-62706E023703}">
                                <ahyp:hlinkClr xmlns:ahyp="http://schemas.microsoft.com/office/drawing/2018/hyperlinkcolor" val="tx"/>
                              </a:ext>
                            </a:extLst>
                          </a:hlinkClick>
                        </a:rPr>
                        <a:t>Overview</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hlinkClick r:id="rId29">
                            <a:extLst>
                              <a:ext uri="{A12FA001-AC4F-418D-AE19-62706E023703}">
                                <ahyp:hlinkClr xmlns:ahyp="http://schemas.microsoft.com/office/drawing/2018/hyperlinkcolor" val="tx"/>
                              </a:ext>
                            </a:extLst>
                          </a:hlinkClick>
                        </a:rPr>
                        <a:t>Core-Concept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962030243"/>
                  </a:ext>
                </a:extLst>
              </a:tr>
              <a:tr h="34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30">
                            <a:extLst>
                              <a:ext uri="{A12FA001-AC4F-418D-AE19-62706E023703}">
                                <ahyp:hlinkClr xmlns:ahyp="http://schemas.microsoft.com/office/drawing/2018/hyperlinkcolor" val="tx"/>
                              </a:ext>
                            </a:extLst>
                          </a:hlinkClick>
                        </a:rPr>
                        <a:t>Other links</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hlinkClick r:id="rId31">
                            <a:extLst>
                              <a:ext uri="{A12FA001-AC4F-418D-AE19-62706E023703}">
                                <ahyp:hlinkClr xmlns:ahyp="http://schemas.microsoft.com/office/drawing/2018/hyperlinkcolor" val="tx"/>
                              </a:ext>
                            </a:extLst>
                          </a:hlinkClick>
                        </a:rPr>
                        <a:t>Ecosystem</a:t>
                      </a:r>
                      <a:endParaRPr lang="en-US" sz="11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45" name="Table 15">
            <a:extLst>
              <a:ext uri="{FF2B5EF4-FFF2-40B4-BE49-F238E27FC236}">
                <a16:creationId xmlns:a16="http://schemas.microsoft.com/office/drawing/2014/main" id="{6BACB9DE-B711-FB4B-BA7C-F92FE866F41F}"/>
              </a:ext>
            </a:extLst>
          </p:cNvPr>
          <p:cNvGraphicFramePr>
            <a:graphicFrameLocks noGrp="1"/>
          </p:cNvGraphicFramePr>
          <p:nvPr>
            <p:extLst>
              <p:ext uri="{D42A27DB-BD31-4B8C-83A1-F6EECF244321}">
                <p14:modId xmlns:p14="http://schemas.microsoft.com/office/powerpoint/2010/main" val="2024449657"/>
              </p:ext>
            </p:extLst>
          </p:nvPr>
        </p:nvGraphicFramePr>
        <p:xfrm>
          <a:off x="8623977" y="1991372"/>
          <a:ext cx="2537907" cy="455111"/>
        </p:xfrm>
        <a:graphic>
          <a:graphicData uri="http://schemas.openxmlformats.org/drawingml/2006/table">
            <a:tbl>
              <a:tblPr firstRow="1" bandRow="1">
                <a:tableStyleId>{5C22544A-7EE6-4342-B048-85BDC9FD1C3A}</a:tableStyleId>
              </a:tblPr>
              <a:tblGrid>
                <a:gridCol w="2537907">
                  <a:extLst>
                    <a:ext uri="{9D8B030D-6E8A-4147-A177-3AD203B41FA5}">
                      <a16:colId xmlns:a16="http://schemas.microsoft.com/office/drawing/2014/main" val="4113390918"/>
                    </a:ext>
                  </a:extLst>
                </a:gridCol>
              </a:tblGrid>
              <a:tr h="455111">
                <a:tc>
                  <a:txBody>
                    <a:bodyPr/>
                    <a:lstStyle/>
                    <a:p>
                      <a:pPr algn="ctr"/>
                      <a:r>
                        <a:rPr lang="en-US" sz="1400" b="1" dirty="0">
                          <a:solidFill>
                            <a:schemeClr val="bg1"/>
                          </a:solidFill>
                        </a:rPr>
                        <a:t>Redux</a:t>
                      </a:r>
                    </a:p>
                  </a:txBody>
                  <a:tcPr anchor="ctr">
                    <a:solidFill>
                      <a:schemeClr val="tx2"/>
                    </a:solidFill>
                  </a:tcPr>
                </a:tc>
                <a:extLst>
                  <a:ext uri="{0D108BD9-81ED-4DB2-BD59-A6C34878D82A}">
                    <a16:rowId xmlns:a16="http://schemas.microsoft.com/office/drawing/2014/main" val="1288942900"/>
                  </a:ext>
                </a:extLst>
              </a:tr>
            </a:tbl>
          </a:graphicData>
        </a:graphic>
      </p:graphicFrame>
      <p:pic>
        <p:nvPicPr>
          <p:cNvPr id="46" name="Picture 2" descr="Getting Started with Redux | Redux">
            <a:extLst>
              <a:ext uri="{FF2B5EF4-FFF2-40B4-BE49-F238E27FC236}">
                <a16:creationId xmlns:a16="http://schemas.microsoft.com/office/drawing/2014/main" id="{3384A023-A6C0-6F45-B2F6-7E8E7A8BEBC2}"/>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260546" y="2687600"/>
            <a:ext cx="1380182" cy="690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34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1"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5"/>
          <p:cNvSpPr txBox="1">
            <a:spLocks/>
          </p:cNvSpPr>
          <p:nvPr/>
        </p:nvSpPr>
        <p:spPr bwMode="blackWhite">
          <a:xfrm>
            <a:off x="664482" y="3668930"/>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srgbClr val="D4DF33"/>
                </a:solidFill>
                <a:latin typeface="Trebuchet MS"/>
              </a:rPr>
              <a:t>Impact</a:t>
            </a:r>
            <a:r>
              <a:rPr kumimoji="0" lang="en-US" sz="2800" b="0" i="0" u="none" strike="noStrike" kern="1200" cap="none" spc="0" normalizeH="0" baseline="0" noProof="0" dirty="0">
                <a:ln>
                  <a:noFill/>
                </a:ln>
                <a:solidFill>
                  <a:srgbClr val="D4DF33"/>
                </a:solidFill>
                <a:effectLst/>
                <a:uLnTx/>
                <a:uFillTx/>
                <a:latin typeface="Trebuchet MS"/>
                <a:ea typeface="+mj-ea"/>
                <a:cs typeface="+mj-cs"/>
                <a:sym typeface="Trebuchet MS" panose="020B0603020202020204" pitchFamily="34" charset="0"/>
              </a:rPr>
              <a:t>:</a:t>
            </a:r>
            <a:endParaRPr kumimoji="0" lang="en-US" sz="44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17" name="Title 5"/>
          <p:cNvSpPr txBox="1">
            <a:spLocks/>
          </p:cNvSpPr>
          <p:nvPr/>
        </p:nvSpPr>
        <p:spPr bwMode="blackWhite">
          <a:xfrm>
            <a:off x="664482" y="898250"/>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D4DF33"/>
                </a:solidFill>
                <a:effectLst/>
                <a:uLnTx/>
                <a:uFillTx/>
                <a:latin typeface="Trebuchet MS"/>
                <a:ea typeface="+mj-ea"/>
                <a:cs typeface="+mj-cs"/>
                <a:sym typeface="Trebuchet MS" panose="020B0603020202020204" pitchFamily="34" charset="0"/>
              </a:rPr>
              <a:t>Client context:</a:t>
            </a:r>
            <a:endParaRPr kumimoji="0" lang="en-US" sz="4400" b="0" i="0" u="none" strike="noStrike" kern="1200" cap="none" spc="0" normalizeH="0" baseline="0" noProof="0" dirty="0">
              <a:ln>
                <a:noFill/>
              </a:ln>
              <a:solidFill>
                <a:srgbClr val="FFFFFF"/>
              </a:solidFill>
              <a:effectLst/>
              <a:uLnTx/>
              <a:uFillTx/>
              <a:latin typeface="Trebuchet MS"/>
              <a:ea typeface="+mj-ea"/>
              <a:cs typeface="+mj-cs"/>
              <a:sym typeface="Trebuchet MS" panose="020B0603020202020204" pitchFamily="34" charset="0"/>
            </a:endParaRPr>
          </a:p>
        </p:txBody>
      </p:sp>
      <p:sp>
        <p:nvSpPr>
          <p:cNvPr id="4" name="Rectangle 3"/>
          <p:cNvSpPr/>
          <p:nvPr/>
        </p:nvSpPr>
        <p:spPr>
          <a:xfrm>
            <a:off x="843610" y="1403939"/>
            <a:ext cx="6081501" cy="20621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600" b="0" i="0" u="none" strike="noStrike" kern="1200" cap="none" spc="0" normalizeH="0" baseline="0" noProof="0" dirty="0">
                <a:ln>
                  <a:noFill/>
                </a:ln>
                <a:solidFill>
                  <a:schemeClr val="bg1"/>
                </a:solidFill>
                <a:effectLst/>
                <a:uLnTx/>
                <a:uFillTx/>
                <a:ea typeface="+mn-ea"/>
                <a:cs typeface="+mn-cs"/>
              </a:rPr>
              <a:t>Our client </a:t>
            </a:r>
            <a:r>
              <a:rPr kumimoji="0" lang="en-SG" sz="1600" b="0" i="0" u="none" strike="noStrike" kern="1200" cap="none" spc="0" normalizeH="0" baseline="0" noProof="0" dirty="0">
                <a:ln>
                  <a:noFill/>
                </a:ln>
                <a:solidFill>
                  <a:schemeClr val="bg1"/>
                </a:solidFill>
                <a:effectLst/>
                <a:uLnTx/>
                <a:uFillTx/>
              </a:rPr>
              <a:t>is a France based retailer and they want to create a tool which enables them to optimize promotions across the calendar with predi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600" dirty="0">
              <a:solidFill>
                <a:schemeClr val="bg1"/>
              </a:solidFill>
            </a:endParaRPr>
          </a:p>
          <a:p>
            <a:pPr>
              <a:lnSpc>
                <a:spcPct val="100000"/>
              </a:lnSpc>
            </a:pPr>
            <a:r>
              <a:rPr lang="en-GB" sz="1600" dirty="0">
                <a:solidFill>
                  <a:schemeClr val="bg1"/>
                </a:solidFill>
              </a:rPr>
              <a:t>This tool will also give the power to easily and accurately</a:t>
            </a:r>
          </a:p>
          <a:p>
            <a:pPr>
              <a:lnSpc>
                <a:spcPct val="100000"/>
              </a:lnSpc>
            </a:pPr>
            <a:r>
              <a:rPr lang="en-GB" sz="1600" dirty="0">
                <a:solidFill>
                  <a:schemeClr val="bg1"/>
                </a:solidFill>
              </a:rPr>
              <a:t>plan successful future promotions, incorporate their </a:t>
            </a:r>
          </a:p>
          <a:p>
            <a:pPr>
              <a:lnSpc>
                <a:spcPct val="100000"/>
              </a:lnSpc>
            </a:pPr>
            <a:r>
              <a:rPr lang="en-GB" sz="1600" dirty="0">
                <a:solidFill>
                  <a:schemeClr val="bg1"/>
                </a:solidFill>
              </a:rPr>
              <a:t>impact to the overall retail planning process and </a:t>
            </a:r>
          </a:p>
          <a:p>
            <a:pPr>
              <a:lnSpc>
                <a:spcPct val="100000"/>
              </a:lnSpc>
            </a:pPr>
            <a:r>
              <a:rPr lang="en-GB" sz="1600" dirty="0">
                <a:solidFill>
                  <a:schemeClr val="bg1"/>
                </a:solidFill>
              </a:rPr>
              <a:t>evaluate their Effectiveness. </a:t>
            </a:r>
            <a:endParaRPr kumimoji="0" lang="en-SG" sz="1600" b="0" i="0" u="none" strike="noStrike" kern="1200" cap="none" spc="0" normalizeH="0" baseline="0" noProof="0" dirty="0">
              <a:ln>
                <a:noFill/>
              </a:ln>
              <a:solidFill>
                <a:schemeClr val="bg1"/>
              </a:solidFill>
              <a:effectLst/>
              <a:uLnTx/>
              <a:uFillTx/>
              <a:ea typeface="+mn-ea"/>
              <a:cs typeface="+mn-cs"/>
            </a:endParaRPr>
          </a:p>
        </p:txBody>
      </p:sp>
      <p:sp>
        <p:nvSpPr>
          <p:cNvPr id="27" name="Rectangle 26"/>
          <p:cNvSpPr/>
          <p:nvPr/>
        </p:nvSpPr>
        <p:spPr>
          <a:xfrm>
            <a:off x="1518869" y="4323113"/>
            <a:ext cx="56569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Trebuchet MS"/>
              </a:rPr>
              <a:t>This solution supports intuitive UI for retailers to decide  promotion calendar and simulate the best optimized   calendar to maximize sales or profit.</a:t>
            </a:r>
            <a:endParaRPr kumimoji="0" lang="en-US" sz="16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8" name="Group 27">
            <a:extLst>
              <a:ext uri="{FF2B5EF4-FFF2-40B4-BE49-F238E27FC236}">
                <a16:creationId xmlns:a16="http://schemas.microsoft.com/office/drawing/2014/main" id="{10642E91-2819-4468-A856-FF72CB05B479}"/>
              </a:ext>
            </a:extLst>
          </p:cNvPr>
          <p:cNvGrpSpPr>
            <a:grpSpLocks noChangeAspect="1"/>
          </p:cNvGrpSpPr>
          <p:nvPr/>
        </p:nvGrpSpPr>
        <p:grpSpPr>
          <a:xfrm>
            <a:off x="903735" y="4455023"/>
            <a:ext cx="577822" cy="577266"/>
            <a:chOff x="5272088" y="2605881"/>
            <a:chExt cx="1647825" cy="1646238"/>
          </a:xfrm>
        </p:grpSpPr>
        <p:sp>
          <p:nvSpPr>
            <p:cNvPr id="29" name="AutoShape 22">
              <a:extLst>
                <a:ext uri="{FF2B5EF4-FFF2-40B4-BE49-F238E27FC236}">
                  <a16:creationId xmlns:a16="http://schemas.microsoft.com/office/drawing/2014/main" id="{80173071-4D5A-4E8C-8287-57FCB631DCE3}"/>
                </a:ext>
              </a:extLst>
            </p:cNvPr>
            <p:cNvSpPr>
              <a:spLocks noChangeAspect="1" noChangeArrowheads="1" noTextEdit="1"/>
            </p:cNvSpPr>
            <p:nvPr/>
          </p:nvSpPr>
          <p:spPr bwMode="auto">
            <a:xfrm>
              <a:off x="5272088" y="2605881"/>
              <a:ext cx="1647825"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0" name="Freeform 25">
              <a:extLst>
                <a:ext uri="{FF2B5EF4-FFF2-40B4-BE49-F238E27FC236}">
                  <a16:creationId xmlns:a16="http://schemas.microsoft.com/office/drawing/2014/main" id="{243A732B-2A43-4C39-A132-0CD56EC37F4C}"/>
                </a:ext>
              </a:extLst>
            </p:cNvPr>
            <p:cNvSpPr>
              <a:spLocks/>
            </p:cNvSpPr>
            <p:nvPr/>
          </p:nvSpPr>
          <p:spPr bwMode="auto">
            <a:xfrm>
              <a:off x="5424486" y="2740817"/>
              <a:ext cx="1343026" cy="1377950"/>
            </a:xfrm>
            <a:custGeom>
              <a:avLst/>
              <a:gdLst>
                <a:gd name="connsiteX0" fmla="*/ 468123 w 1343026"/>
                <a:gd name="connsiteY0" fmla="*/ 1138237 h 1377950"/>
                <a:gd name="connsiteX1" fmla="*/ 476687 w 1343026"/>
                <a:gd name="connsiteY1" fmla="*/ 1158988 h 1377950"/>
                <a:gd name="connsiteX2" fmla="*/ 671513 w 1343026"/>
                <a:gd name="connsiteY2" fmla="*/ 1346465 h 1377950"/>
                <a:gd name="connsiteX3" fmla="*/ 866338 w 1343026"/>
                <a:gd name="connsiteY3" fmla="*/ 1158988 h 1377950"/>
                <a:gd name="connsiteX4" fmla="*/ 874902 w 1343026"/>
                <a:gd name="connsiteY4" fmla="*/ 1138237 h 1377950"/>
                <a:gd name="connsiteX5" fmla="*/ 879184 w 1343026"/>
                <a:gd name="connsiteY5" fmla="*/ 1138953 h 1377950"/>
                <a:gd name="connsiteX6" fmla="*/ 904875 w 1343026"/>
                <a:gd name="connsiteY6" fmla="*/ 1144677 h 1377950"/>
                <a:gd name="connsiteX7" fmla="*/ 894171 w 1343026"/>
                <a:gd name="connsiteY7" fmla="*/ 1171153 h 1377950"/>
                <a:gd name="connsiteX8" fmla="*/ 671513 w 1343026"/>
                <a:gd name="connsiteY8" fmla="*/ 1377950 h 1377950"/>
                <a:gd name="connsiteX9" fmla="*/ 448855 w 1343026"/>
                <a:gd name="connsiteY9" fmla="*/ 1171153 h 1377950"/>
                <a:gd name="connsiteX10" fmla="*/ 438150 w 1343026"/>
                <a:gd name="connsiteY10" fmla="*/ 1145393 h 1377950"/>
                <a:gd name="connsiteX11" fmla="*/ 465269 w 1343026"/>
                <a:gd name="connsiteY11" fmla="*/ 1138953 h 1377950"/>
                <a:gd name="connsiteX12" fmla="*/ 468123 w 1343026"/>
                <a:gd name="connsiteY12" fmla="*/ 1138237 h 1377950"/>
                <a:gd name="connsiteX13" fmla="*/ 968375 w 1343026"/>
                <a:gd name="connsiteY13" fmla="*/ 906462 h 1377950"/>
                <a:gd name="connsiteX14" fmla="*/ 935904 w 1343026"/>
                <a:gd name="connsiteY14" fmla="*/ 1054100 h 1377950"/>
                <a:gd name="connsiteX15" fmla="*/ 933739 w 1343026"/>
                <a:gd name="connsiteY15" fmla="*/ 1053387 h 1377950"/>
                <a:gd name="connsiteX16" fmla="*/ 904875 w 1343026"/>
                <a:gd name="connsiteY16" fmla="*/ 1047681 h 1377950"/>
                <a:gd name="connsiteX17" fmla="*/ 931574 w 1343026"/>
                <a:gd name="connsiteY17" fmla="*/ 930712 h 1377950"/>
                <a:gd name="connsiteX18" fmla="*/ 956830 w 1343026"/>
                <a:gd name="connsiteY18" fmla="*/ 914307 h 1377950"/>
                <a:gd name="connsiteX19" fmla="*/ 957551 w 1343026"/>
                <a:gd name="connsiteY19" fmla="*/ 913594 h 1377950"/>
                <a:gd name="connsiteX20" fmla="*/ 958273 w 1343026"/>
                <a:gd name="connsiteY20" fmla="*/ 913594 h 1377950"/>
                <a:gd name="connsiteX21" fmla="*/ 968375 w 1343026"/>
                <a:gd name="connsiteY21" fmla="*/ 906462 h 1377950"/>
                <a:gd name="connsiteX22" fmla="*/ 376238 w 1343026"/>
                <a:gd name="connsiteY22" fmla="*/ 904875 h 1377950"/>
                <a:gd name="connsiteX23" fmla="*/ 388198 w 1343026"/>
                <a:gd name="connsiteY23" fmla="*/ 914157 h 1377950"/>
                <a:gd name="connsiteX24" fmla="*/ 388902 w 1343026"/>
                <a:gd name="connsiteY24" fmla="*/ 914157 h 1377950"/>
                <a:gd name="connsiteX25" fmla="*/ 411416 w 1343026"/>
                <a:gd name="connsiteY25" fmla="*/ 929865 h 1377950"/>
                <a:gd name="connsiteX26" fmla="*/ 438151 w 1343026"/>
                <a:gd name="connsiteY26" fmla="*/ 1047674 h 1377950"/>
                <a:gd name="connsiteX27" fmla="*/ 411416 w 1343026"/>
                <a:gd name="connsiteY27" fmla="*/ 1053386 h 1377950"/>
                <a:gd name="connsiteX28" fmla="*/ 407898 w 1343026"/>
                <a:gd name="connsiteY28" fmla="*/ 1054100 h 1377950"/>
                <a:gd name="connsiteX29" fmla="*/ 376238 w 1343026"/>
                <a:gd name="connsiteY29" fmla="*/ 904875 h 1377950"/>
                <a:gd name="connsiteX30" fmla="*/ 1257300 w 1343026"/>
                <a:gd name="connsiteY30" fmla="*/ 803275 h 1377950"/>
                <a:gd name="connsiteX31" fmla="*/ 1203325 w 1343026"/>
                <a:gd name="connsiteY31" fmla="*/ 856457 h 1377950"/>
                <a:gd name="connsiteX32" fmla="*/ 1257300 w 1343026"/>
                <a:gd name="connsiteY32" fmla="*/ 909639 h 1377950"/>
                <a:gd name="connsiteX33" fmla="*/ 1311275 w 1343026"/>
                <a:gd name="connsiteY33" fmla="*/ 856457 h 1377950"/>
                <a:gd name="connsiteX34" fmla="*/ 1257300 w 1343026"/>
                <a:gd name="connsiteY34" fmla="*/ 803275 h 1377950"/>
                <a:gd name="connsiteX35" fmla="*/ 85725 w 1343026"/>
                <a:gd name="connsiteY35" fmla="*/ 803275 h 1377950"/>
                <a:gd name="connsiteX36" fmla="*/ 31750 w 1343026"/>
                <a:gd name="connsiteY36" fmla="*/ 856457 h 1377950"/>
                <a:gd name="connsiteX37" fmla="*/ 85725 w 1343026"/>
                <a:gd name="connsiteY37" fmla="*/ 909639 h 1377950"/>
                <a:gd name="connsiteX38" fmla="*/ 139700 w 1343026"/>
                <a:gd name="connsiteY38" fmla="*/ 856457 h 1377950"/>
                <a:gd name="connsiteX39" fmla="*/ 85725 w 1343026"/>
                <a:gd name="connsiteY39" fmla="*/ 803275 h 1377950"/>
                <a:gd name="connsiteX40" fmla="*/ 1257739 w 1343026"/>
                <a:gd name="connsiteY40" fmla="*/ 773112 h 1377950"/>
                <a:gd name="connsiteX41" fmla="*/ 1343026 w 1343026"/>
                <a:gd name="connsiteY41" fmla="*/ 857605 h 1377950"/>
                <a:gd name="connsiteX42" fmla="*/ 1319572 w 1343026"/>
                <a:gd name="connsiteY42" fmla="*/ 915116 h 1377950"/>
                <a:gd name="connsiteX43" fmla="*/ 1304647 w 1343026"/>
                <a:gd name="connsiteY43" fmla="*/ 927187 h 1377950"/>
                <a:gd name="connsiteX44" fmla="*/ 1289011 w 1343026"/>
                <a:gd name="connsiteY44" fmla="*/ 935707 h 1377950"/>
                <a:gd name="connsiteX45" fmla="*/ 1261293 w 1343026"/>
                <a:gd name="connsiteY45" fmla="*/ 941387 h 1377950"/>
                <a:gd name="connsiteX46" fmla="*/ 1257739 w 1343026"/>
                <a:gd name="connsiteY46" fmla="*/ 941387 h 1377950"/>
                <a:gd name="connsiteX47" fmla="*/ 1242814 w 1343026"/>
                <a:gd name="connsiteY47" fmla="*/ 939967 h 1377950"/>
                <a:gd name="connsiteX48" fmla="*/ 1227178 w 1343026"/>
                <a:gd name="connsiteY48" fmla="*/ 935707 h 1377950"/>
                <a:gd name="connsiteX49" fmla="*/ 1173163 w 1343026"/>
                <a:gd name="connsiteY49" fmla="*/ 857605 h 1377950"/>
                <a:gd name="connsiteX50" fmla="*/ 1257739 w 1343026"/>
                <a:gd name="connsiteY50" fmla="*/ 773112 h 1377950"/>
                <a:gd name="connsiteX51" fmla="*/ 86084 w 1343026"/>
                <a:gd name="connsiteY51" fmla="*/ 773112 h 1377950"/>
                <a:gd name="connsiteX52" fmla="*/ 171450 w 1343026"/>
                <a:gd name="connsiteY52" fmla="*/ 857605 h 1377950"/>
                <a:gd name="connsiteX53" fmla="*/ 119083 w 1343026"/>
                <a:gd name="connsiteY53" fmla="*/ 934997 h 1377950"/>
                <a:gd name="connsiteX54" fmla="*/ 102583 w 1343026"/>
                <a:gd name="connsiteY54" fmla="*/ 939967 h 1377950"/>
                <a:gd name="connsiteX55" fmla="*/ 86084 w 1343026"/>
                <a:gd name="connsiteY55" fmla="*/ 941387 h 1377950"/>
                <a:gd name="connsiteX56" fmla="*/ 85367 w 1343026"/>
                <a:gd name="connsiteY56" fmla="*/ 941387 h 1377950"/>
                <a:gd name="connsiteX57" fmla="*/ 54520 w 1343026"/>
                <a:gd name="connsiteY57" fmla="*/ 935707 h 1377950"/>
                <a:gd name="connsiteX58" fmla="*/ 40173 w 1343026"/>
                <a:gd name="connsiteY58" fmla="*/ 928607 h 1377950"/>
                <a:gd name="connsiteX59" fmla="*/ 25108 w 1343026"/>
                <a:gd name="connsiteY59" fmla="*/ 916536 h 1377950"/>
                <a:gd name="connsiteX60" fmla="*/ 0 w 1343026"/>
                <a:gd name="connsiteY60" fmla="*/ 857605 h 1377950"/>
                <a:gd name="connsiteX61" fmla="*/ 86084 w 1343026"/>
                <a:gd name="connsiteY61" fmla="*/ 773112 h 1377950"/>
                <a:gd name="connsiteX62" fmla="*/ 396160 w 1343026"/>
                <a:gd name="connsiteY62" fmla="*/ 574675 h 1377950"/>
                <a:gd name="connsiteX63" fmla="*/ 391864 w 1343026"/>
                <a:gd name="connsiteY63" fmla="*/ 688975 h 1377950"/>
                <a:gd name="connsiteX64" fmla="*/ 396876 w 1343026"/>
                <a:gd name="connsiteY64" fmla="*/ 803275 h 1377950"/>
                <a:gd name="connsiteX65" fmla="*/ 386137 w 1343026"/>
                <a:gd name="connsiteY65" fmla="*/ 796131 h 1377950"/>
                <a:gd name="connsiteX66" fmla="*/ 363227 w 1343026"/>
                <a:gd name="connsiteY66" fmla="*/ 777557 h 1377950"/>
                <a:gd name="connsiteX67" fmla="*/ 360363 w 1343026"/>
                <a:gd name="connsiteY67" fmla="*/ 688975 h 1377950"/>
                <a:gd name="connsiteX68" fmla="*/ 363227 w 1343026"/>
                <a:gd name="connsiteY68" fmla="*/ 601107 h 1377950"/>
                <a:gd name="connsiteX69" fmla="*/ 386137 w 1343026"/>
                <a:gd name="connsiteY69" fmla="*/ 582533 h 1377950"/>
                <a:gd name="connsiteX70" fmla="*/ 396160 w 1343026"/>
                <a:gd name="connsiteY70" fmla="*/ 574675 h 1377950"/>
                <a:gd name="connsiteX71" fmla="*/ 946150 w 1343026"/>
                <a:gd name="connsiteY71" fmla="*/ 573087 h 1377950"/>
                <a:gd name="connsiteX72" fmla="*/ 958321 w 1343026"/>
                <a:gd name="connsiteY72" fmla="*/ 582386 h 1377950"/>
                <a:gd name="connsiteX73" fmla="*/ 979799 w 1343026"/>
                <a:gd name="connsiteY73" fmla="*/ 599555 h 1377950"/>
                <a:gd name="connsiteX74" fmla="*/ 982663 w 1343026"/>
                <a:gd name="connsiteY74" fmla="*/ 688974 h 1377950"/>
                <a:gd name="connsiteX75" fmla="*/ 979799 w 1343026"/>
                <a:gd name="connsiteY75" fmla="*/ 779109 h 1377950"/>
                <a:gd name="connsiteX76" fmla="*/ 958321 w 1343026"/>
                <a:gd name="connsiteY76" fmla="*/ 796278 h 1377950"/>
                <a:gd name="connsiteX77" fmla="*/ 946150 w 1343026"/>
                <a:gd name="connsiteY77" fmla="*/ 804862 h 1377950"/>
                <a:gd name="connsiteX78" fmla="*/ 951162 w 1343026"/>
                <a:gd name="connsiteY78" fmla="*/ 688974 h 1377950"/>
                <a:gd name="connsiteX79" fmla="*/ 946150 w 1343026"/>
                <a:gd name="connsiteY79" fmla="*/ 573087 h 1377950"/>
                <a:gd name="connsiteX80" fmla="*/ 673102 w 1343026"/>
                <a:gd name="connsiteY80" fmla="*/ 373063 h 1377950"/>
                <a:gd name="connsiteX81" fmla="*/ 533109 w 1343026"/>
                <a:gd name="connsiteY81" fmla="*/ 444519 h 1377950"/>
                <a:gd name="connsiteX82" fmla="*/ 401687 w 1343026"/>
                <a:gd name="connsiteY82" fmla="*/ 530265 h 1377950"/>
                <a:gd name="connsiteX83" fmla="*/ 400259 w 1343026"/>
                <a:gd name="connsiteY83" fmla="*/ 530980 h 1377950"/>
                <a:gd name="connsiteX84" fmla="*/ 367403 w 1343026"/>
                <a:gd name="connsiteY84" fmla="*/ 555989 h 1377950"/>
                <a:gd name="connsiteX85" fmla="*/ 365975 w 1343026"/>
                <a:gd name="connsiteY85" fmla="*/ 556704 h 1377950"/>
                <a:gd name="connsiteX86" fmla="*/ 223839 w 1343026"/>
                <a:gd name="connsiteY86" fmla="*/ 688182 h 1377950"/>
                <a:gd name="connsiteX87" fmla="*/ 365975 w 1343026"/>
                <a:gd name="connsiteY87" fmla="*/ 818946 h 1377950"/>
                <a:gd name="connsiteX88" fmla="*/ 367403 w 1343026"/>
                <a:gd name="connsiteY88" fmla="*/ 820375 h 1377950"/>
                <a:gd name="connsiteX89" fmla="*/ 400259 w 1343026"/>
                <a:gd name="connsiteY89" fmla="*/ 845384 h 1377950"/>
                <a:gd name="connsiteX90" fmla="*/ 401687 w 1343026"/>
                <a:gd name="connsiteY90" fmla="*/ 846099 h 1377950"/>
                <a:gd name="connsiteX91" fmla="*/ 533109 w 1343026"/>
                <a:gd name="connsiteY91" fmla="*/ 931846 h 1377950"/>
                <a:gd name="connsiteX92" fmla="*/ 673102 w 1343026"/>
                <a:gd name="connsiteY92" fmla="*/ 1003301 h 1377950"/>
                <a:gd name="connsiteX93" fmla="*/ 813094 w 1343026"/>
                <a:gd name="connsiteY93" fmla="*/ 931846 h 1377950"/>
                <a:gd name="connsiteX94" fmla="*/ 945231 w 1343026"/>
                <a:gd name="connsiteY94" fmla="*/ 846099 h 1377950"/>
                <a:gd name="connsiteX95" fmla="*/ 979514 w 1343026"/>
                <a:gd name="connsiteY95" fmla="*/ 820375 h 1377950"/>
                <a:gd name="connsiteX96" fmla="*/ 1122364 w 1343026"/>
                <a:gd name="connsiteY96" fmla="*/ 688182 h 1377950"/>
                <a:gd name="connsiteX97" fmla="*/ 979514 w 1343026"/>
                <a:gd name="connsiteY97" fmla="*/ 555989 h 1377950"/>
                <a:gd name="connsiteX98" fmla="*/ 978800 w 1343026"/>
                <a:gd name="connsiteY98" fmla="*/ 555275 h 1377950"/>
                <a:gd name="connsiteX99" fmla="*/ 945231 w 1343026"/>
                <a:gd name="connsiteY99" fmla="*/ 530265 h 1377950"/>
                <a:gd name="connsiteX100" fmla="*/ 944516 w 1343026"/>
                <a:gd name="connsiteY100" fmla="*/ 529551 h 1377950"/>
                <a:gd name="connsiteX101" fmla="*/ 813094 w 1343026"/>
                <a:gd name="connsiteY101" fmla="*/ 444519 h 1377950"/>
                <a:gd name="connsiteX102" fmla="*/ 673102 w 1343026"/>
                <a:gd name="connsiteY102" fmla="*/ 373063 h 1377950"/>
                <a:gd name="connsiteX103" fmla="*/ 936625 w 1343026"/>
                <a:gd name="connsiteY103" fmla="*/ 322262 h 1377950"/>
                <a:gd name="connsiteX104" fmla="*/ 968375 w 1343026"/>
                <a:gd name="connsiteY104" fmla="*/ 471487 h 1377950"/>
                <a:gd name="connsiteX105" fmla="*/ 957551 w 1343026"/>
                <a:gd name="connsiteY105" fmla="*/ 464347 h 1377950"/>
                <a:gd name="connsiteX106" fmla="*/ 956830 w 1343026"/>
                <a:gd name="connsiteY106" fmla="*/ 463633 h 1377950"/>
                <a:gd name="connsiteX107" fmla="*/ 932296 w 1343026"/>
                <a:gd name="connsiteY107" fmla="*/ 447211 h 1377950"/>
                <a:gd name="connsiteX108" fmla="*/ 904875 w 1343026"/>
                <a:gd name="connsiteY108" fmla="*/ 328688 h 1377950"/>
                <a:gd name="connsiteX109" fmla="*/ 933739 w 1343026"/>
                <a:gd name="connsiteY109" fmla="*/ 322976 h 1377950"/>
                <a:gd name="connsiteX110" fmla="*/ 936625 w 1343026"/>
                <a:gd name="connsiteY110" fmla="*/ 322262 h 1377950"/>
                <a:gd name="connsiteX111" fmla="*/ 407194 w 1343026"/>
                <a:gd name="connsiteY111" fmla="*/ 322262 h 1377950"/>
                <a:gd name="connsiteX112" fmla="*/ 411416 w 1343026"/>
                <a:gd name="connsiteY112" fmla="*/ 322977 h 1377950"/>
                <a:gd name="connsiteX113" fmla="*/ 438151 w 1343026"/>
                <a:gd name="connsiteY113" fmla="*/ 328695 h 1377950"/>
                <a:gd name="connsiteX114" fmla="*/ 411416 w 1343026"/>
                <a:gd name="connsiteY114" fmla="*/ 448773 h 1377950"/>
                <a:gd name="connsiteX115" fmla="*/ 388902 w 1343026"/>
                <a:gd name="connsiteY115" fmla="*/ 463783 h 1377950"/>
                <a:gd name="connsiteX116" fmla="*/ 388198 w 1343026"/>
                <a:gd name="connsiteY116" fmla="*/ 464498 h 1377950"/>
                <a:gd name="connsiteX117" fmla="*/ 376238 w 1343026"/>
                <a:gd name="connsiteY117" fmla="*/ 473075 h 1377950"/>
                <a:gd name="connsiteX118" fmla="*/ 407194 w 1343026"/>
                <a:gd name="connsiteY118" fmla="*/ 322262 h 1377950"/>
                <a:gd name="connsiteX119" fmla="*/ 1045377 w 1343026"/>
                <a:gd name="connsiteY119" fmla="*/ 280988 h 1377950"/>
                <a:gd name="connsiteX120" fmla="*/ 928022 w 1343026"/>
                <a:gd name="connsiteY120" fmla="*/ 292392 h 1377950"/>
                <a:gd name="connsiteX121" fmla="*/ 927307 w 1343026"/>
                <a:gd name="connsiteY121" fmla="*/ 292392 h 1377950"/>
                <a:gd name="connsiteX122" fmla="*/ 897253 w 1343026"/>
                <a:gd name="connsiteY122" fmla="*/ 298807 h 1377950"/>
                <a:gd name="connsiteX123" fmla="*/ 896537 w 1343026"/>
                <a:gd name="connsiteY123" fmla="*/ 298807 h 1377950"/>
                <a:gd name="connsiteX124" fmla="*/ 711202 w 1343026"/>
                <a:gd name="connsiteY124" fmla="*/ 357966 h 1377950"/>
                <a:gd name="connsiteX125" fmla="*/ 827842 w 1343026"/>
                <a:gd name="connsiteY125" fmla="*/ 418550 h 1377950"/>
                <a:gd name="connsiteX126" fmla="*/ 939472 w 1343026"/>
                <a:gd name="connsiteY126" fmla="*/ 489113 h 1377950"/>
                <a:gd name="connsiteX127" fmla="*/ 974535 w 1343026"/>
                <a:gd name="connsiteY127" fmla="*/ 514772 h 1377950"/>
                <a:gd name="connsiteX128" fmla="*/ 1142696 w 1343026"/>
                <a:gd name="connsiteY128" fmla="*/ 665163 h 1377950"/>
                <a:gd name="connsiteX129" fmla="*/ 1176328 w 1343026"/>
                <a:gd name="connsiteY129" fmla="*/ 623111 h 1377950"/>
                <a:gd name="connsiteX130" fmla="*/ 1241446 w 1343026"/>
                <a:gd name="connsiteY130" fmla="*/ 360104 h 1377950"/>
                <a:gd name="connsiteX131" fmla="*/ 1141980 w 1343026"/>
                <a:gd name="connsiteY131" fmla="*/ 292392 h 1377950"/>
                <a:gd name="connsiteX132" fmla="*/ 1045377 w 1343026"/>
                <a:gd name="connsiteY132" fmla="*/ 280988 h 1377950"/>
                <a:gd name="connsiteX133" fmla="*/ 300177 w 1343026"/>
                <a:gd name="connsiteY133" fmla="*/ 280988 h 1377950"/>
                <a:gd name="connsiteX134" fmla="*/ 203844 w 1343026"/>
                <a:gd name="connsiteY134" fmla="*/ 292392 h 1377950"/>
                <a:gd name="connsiteX135" fmla="*/ 104657 w 1343026"/>
                <a:gd name="connsiteY135" fmla="*/ 360104 h 1377950"/>
                <a:gd name="connsiteX136" fmla="*/ 169593 w 1343026"/>
                <a:gd name="connsiteY136" fmla="*/ 623111 h 1377950"/>
                <a:gd name="connsiteX137" fmla="*/ 203131 w 1343026"/>
                <a:gd name="connsiteY137" fmla="*/ 665163 h 1377950"/>
                <a:gd name="connsiteX138" fmla="*/ 371534 w 1343026"/>
                <a:gd name="connsiteY138" fmla="*/ 514772 h 1377950"/>
                <a:gd name="connsiteX139" fmla="*/ 406499 w 1343026"/>
                <a:gd name="connsiteY139" fmla="*/ 489113 h 1377950"/>
                <a:gd name="connsiteX140" fmla="*/ 517103 w 1343026"/>
                <a:gd name="connsiteY140" fmla="*/ 418550 h 1377950"/>
                <a:gd name="connsiteX141" fmla="*/ 633415 w 1343026"/>
                <a:gd name="connsiteY141" fmla="*/ 357966 h 1377950"/>
                <a:gd name="connsiteX142" fmla="*/ 447886 w 1343026"/>
                <a:gd name="connsiteY142" fmla="*/ 298807 h 1377950"/>
                <a:gd name="connsiteX143" fmla="*/ 447173 w 1343026"/>
                <a:gd name="connsiteY143" fmla="*/ 298807 h 1377950"/>
                <a:gd name="connsiteX144" fmla="*/ 417916 w 1343026"/>
                <a:gd name="connsiteY144" fmla="*/ 292392 h 1377950"/>
                <a:gd name="connsiteX145" fmla="*/ 416489 w 1343026"/>
                <a:gd name="connsiteY145" fmla="*/ 292392 h 1377950"/>
                <a:gd name="connsiteX146" fmla="*/ 300177 w 1343026"/>
                <a:gd name="connsiteY146" fmla="*/ 280988 h 1377950"/>
                <a:gd name="connsiteX147" fmla="*/ 1046113 w 1343026"/>
                <a:gd name="connsiteY147" fmla="*/ 249238 h 1377950"/>
                <a:gd name="connsiteX148" fmla="*/ 1149749 w 1343026"/>
                <a:gd name="connsiteY148" fmla="*/ 262098 h 1377950"/>
                <a:gd name="connsiteX149" fmla="*/ 1268394 w 1343026"/>
                <a:gd name="connsiteY149" fmla="*/ 344259 h 1377950"/>
                <a:gd name="connsiteX150" fmla="*/ 1201210 w 1343026"/>
                <a:gd name="connsiteY150" fmla="*/ 642180 h 1377950"/>
                <a:gd name="connsiteX151" fmla="*/ 974640 w 1343026"/>
                <a:gd name="connsiteY151" fmla="*/ 863656 h 1377950"/>
                <a:gd name="connsiteX152" fmla="*/ 973925 w 1343026"/>
                <a:gd name="connsiteY152" fmla="*/ 863656 h 1377950"/>
                <a:gd name="connsiteX153" fmla="*/ 939618 w 1343026"/>
                <a:gd name="connsiteY153" fmla="*/ 889376 h 1377950"/>
                <a:gd name="connsiteX154" fmla="*/ 938904 w 1343026"/>
                <a:gd name="connsiteY154" fmla="*/ 889376 h 1377950"/>
                <a:gd name="connsiteX155" fmla="*/ 828120 w 1343026"/>
                <a:gd name="connsiteY155" fmla="*/ 960105 h 1377950"/>
                <a:gd name="connsiteX156" fmla="*/ 711619 w 1343026"/>
                <a:gd name="connsiteY156" fmla="*/ 1020833 h 1377950"/>
                <a:gd name="connsiteX157" fmla="*/ 897449 w 1343026"/>
                <a:gd name="connsiteY157" fmla="*/ 1079417 h 1377950"/>
                <a:gd name="connsiteX158" fmla="*/ 928183 w 1343026"/>
                <a:gd name="connsiteY158" fmla="*/ 1085847 h 1377950"/>
                <a:gd name="connsiteX159" fmla="*/ 1044684 w 1343026"/>
                <a:gd name="connsiteY159" fmla="*/ 1097992 h 1377950"/>
                <a:gd name="connsiteX160" fmla="*/ 1141887 w 1343026"/>
                <a:gd name="connsiteY160" fmla="*/ 1085847 h 1377950"/>
                <a:gd name="connsiteX161" fmla="*/ 1241235 w 1343026"/>
                <a:gd name="connsiteY161" fmla="*/ 1018689 h 1377950"/>
                <a:gd name="connsiteX162" fmla="*/ 1256244 w 1343026"/>
                <a:gd name="connsiteY162" fmla="*/ 974394 h 1377950"/>
                <a:gd name="connsiteX163" fmla="*/ 1256959 w 1343026"/>
                <a:gd name="connsiteY163" fmla="*/ 974394 h 1377950"/>
                <a:gd name="connsiteX164" fmla="*/ 1260532 w 1343026"/>
                <a:gd name="connsiteY164" fmla="*/ 974394 h 1377950"/>
                <a:gd name="connsiteX165" fmla="*/ 1288407 w 1343026"/>
                <a:gd name="connsiteY165" fmla="*/ 970108 h 1377950"/>
                <a:gd name="connsiteX166" fmla="*/ 1268394 w 1343026"/>
                <a:gd name="connsiteY166" fmla="*/ 1034407 h 1377950"/>
                <a:gd name="connsiteX167" fmla="*/ 1149749 w 1343026"/>
                <a:gd name="connsiteY167" fmla="*/ 1116568 h 1377950"/>
                <a:gd name="connsiteX168" fmla="*/ 1046828 w 1343026"/>
                <a:gd name="connsiteY168" fmla="*/ 1128713 h 1377950"/>
                <a:gd name="connsiteX169" fmla="*/ 918176 w 1343026"/>
                <a:gd name="connsiteY169" fmla="*/ 1115853 h 1377950"/>
                <a:gd name="connsiteX170" fmla="*/ 917462 w 1343026"/>
                <a:gd name="connsiteY170" fmla="*/ 1115853 h 1377950"/>
                <a:gd name="connsiteX171" fmla="*/ 887443 w 1343026"/>
                <a:gd name="connsiteY171" fmla="*/ 1109423 h 1377950"/>
                <a:gd name="connsiteX172" fmla="*/ 886728 w 1343026"/>
                <a:gd name="connsiteY172" fmla="*/ 1109423 h 1377950"/>
                <a:gd name="connsiteX173" fmla="*/ 672309 w 1343026"/>
                <a:gd name="connsiteY173" fmla="*/ 1038694 h 1377950"/>
                <a:gd name="connsiteX174" fmla="*/ 457175 w 1343026"/>
                <a:gd name="connsiteY174" fmla="*/ 1109423 h 1377950"/>
                <a:gd name="connsiteX175" fmla="*/ 457175 w 1343026"/>
                <a:gd name="connsiteY175" fmla="*/ 1110138 h 1377950"/>
                <a:gd name="connsiteX176" fmla="*/ 427157 w 1343026"/>
                <a:gd name="connsiteY176" fmla="*/ 1115853 h 1377950"/>
                <a:gd name="connsiteX177" fmla="*/ 426442 w 1343026"/>
                <a:gd name="connsiteY177" fmla="*/ 1116568 h 1377950"/>
                <a:gd name="connsiteX178" fmla="*/ 297790 w 1343026"/>
                <a:gd name="connsiteY178" fmla="*/ 1128713 h 1377950"/>
                <a:gd name="connsiteX179" fmla="*/ 194869 w 1343026"/>
                <a:gd name="connsiteY179" fmla="*/ 1116568 h 1377950"/>
                <a:gd name="connsiteX180" fmla="*/ 76224 w 1343026"/>
                <a:gd name="connsiteY180" fmla="*/ 1034407 h 1377950"/>
                <a:gd name="connsiteX181" fmla="*/ 56212 w 1343026"/>
                <a:gd name="connsiteY181" fmla="*/ 970108 h 1377950"/>
                <a:gd name="connsiteX182" fmla="*/ 85516 w 1343026"/>
                <a:gd name="connsiteY182" fmla="*/ 974394 h 1377950"/>
                <a:gd name="connsiteX183" fmla="*/ 86230 w 1343026"/>
                <a:gd name="connsiteY183" fmla="*/ 974394 h 1377950"/>
                <a:gd name="connsiteX184" fmla="*/ 88374 w 1343026"/>
                <a:gd name="connsiteY184" fmla="*/ 974394 h 1377950"/>
                <a:gd name="connsiteX185" fmla="*/ 103384 w 1343026"/>
                <a:gd name="connsiteY185" fmla="*/ 1018689 h 1377950"/>
                <a:gd name="connsiteX186" fmla="*/ 202731 w 1343026"/>
                <a:gd name="connsiteY186" fmla="*/ 1085847 h 1377950"/>
                <a:gd name="connsiteX187" fmla="*/ 299220 w 1343026"/>
                <a:gd name="connsiteY187" fmla="*/ 1097992 h 1377950"/>
                <a:gd name="connsiteX188" fmla="*/ 417150 w 1343026"/>
                <a:gd name="connsiteY188" fmla="*/ 1085847 h 1377950"/>
                <a:gd name="connsiteX189" fmla="*/ 447169 w 1343026"/>
                <a:gd name="connsiteY189" fmla="*/ 1079417 h 1377950"/>
                <a:gd name="connsiteX190" fmla="*/ 632999 w 1343026"/>
                <a:gd name="connsiteY190" fmla="*/ 1020833 h 1377950"/>
                <a:gd name="connsiteX191" fmla="*/ 516498 w 1343026"/>
                <a:gd name="connsiteY191" fmla="*/ 960105 h 1377950"/>
                <a:gd name="connsiteX192" fmla="*/ 405715 w 1343026"/>
                <a:gd name="connsiteY192" fmla="*/ 889376 h 1377950"/>
                <a:gd name="connsiteX193" fmla="*/ 370693 w 1343026"/>
                <a:gd name="connsiteY193" fmla="*/ 863656 h 1377950"/>
                <a:gd name="connsiteX194" fmla="*/ 202017 w 1343026"/>
                <a:gd name="connsiteY194" fmla="*/ 712909 h 1377950"/>
                <a:gd name="connsiteX195" fmla="*/ 201302 w 1343026"/>
                <a:gd name="connsiteY195" fmla="*/ 712909 h 1377950"/>
                <a:gd name="connsiteX196" fmla="*/ 181289 w 1343026"/>
                <a:gd name="connsiteY196" fmla="*/ 689333 h 1377950"/>
                <a:gd name="connsiteX197" fmla="*/ 180575 w 1343026"/>
                <a:gd name="connsiteY197" fmla="*/ 689333 h 1377950"/>
                <a:gd name="connsiteX198" fmla="*/ 143409 w 1343026"/>
                <a:gd name="connsiteY198" fmla="*/ 642180 h 1377950"/>
                <a:gd name="connsiteX199" fmla="*/ 76224 w 1343026"/>
                <a:gd name="connsiteY199" fmla="*/ 344259 h 1377950"/>
                <a:gd name="connsiteX200" fmla="*/ 194869 w 1343026"/>
                <a:gd name="connsiteY200" fmla="*/ 262098 h 1377950"/>
                <a:gd name="connsiteX201" fmla="*/ 298505 w 1343026"/>
                <a:gd name="connsiteY201" fmla="*/ 249953 h 1377950"/>
                <a:gd name="connsiteX202" fmla="*/ 672309 w 1343026"/>
                <a:gd name="connsiteY202" fmla="*/ 339972 h 1377950"/>
                <a:gd name="connsiteX203" fmla="*/ 887443 w 1343026"/>
                <a:gd name="connsiteY203" fmla="*/ 269242 h 1377950"/>
                <a:gd name="connsiteX204" fmla="*/ 918176 w 1343026"/>
                <a:gd name="connsiteY204" fmla="*/ 262812 h 1377950"/>
                <a:gd name="connsiteX205" fmla="*/ 1046113 w 1343026"/>
                <a:gd name="connsiteY205" fmla="*/ 249238 h 1377950"/>
                <a:gd name="connsiteX206" fmla="*/ 518757 w 1343026"/>
                <a:gd name="connsiteY206" fmla="*/ 44451 h 1377950"/>
                <a:gd name="connsiteX207" fmla="*/ 466726 w 1343026"/>
                <a:gd name="connsiteY207" fmla="*/ 98064 h 1377950"/>
                <a:gd name="connsiteX208" fmla="*/ 518757 w 1343026"/>
                <a:gd name="connsiteY208" fmla="*/ 152401 h 1377950"/>
                <a:gd name="connsiteX209" fmla="*/ 571501 w 1343026"/>
                <a:gd name="connsiteY209" fmla="*/ 98064 h 1377950"/>
                <a:gd name="connsiteX210" fmla="*/ 518757 w 1343026"/>
                <a:gd name="connsiteY210" fmla="*/ 44451 h 1377950"/>
                <a:gd name="connsiteX211" fmla="*/ 518756 w 1343026"/>
                <a:gd name="connsiteY211" fmla="*/ 14288 h 1377950"/>
                <a:gd name="connsiteX212" fmla="*/ 572460 w 1343026"/>
                <a:gd name="connsiteY212" fmla="*/ 33459 h 1377950"/>
                <a:gd name="connsiteX213" fmla="*/ 573177 w 1343026"/>
                <a:gd name="connsiteY213" fmla="*/ 34169 h 1377950"/>
                <a:gd name="connsiteX214" fmla="*/ 593226 w 1343026"/>
                <a:gd name="connsiteY214" fmla="*/ 57599 h 1377950"/>
                <a:gd name="connsiteX215" fmla="*/ 593226 w 1343026"/>
                <a:gd name="connsiteY215" fmla="*/ 58309 h 1377950"/>
                <a:gd name="connsiteX216" fmla="*/ 603251 w 1343026"/>
                <a:gd name="connsiteY216" fmla="*/ 98071 h 1377950"/>
                <a:gd name="connsiteX217" fmla="*/ 518756 w 1343026"/>
                <a:gd name="connsiteY217" fmla="*/ 182563 h 1377950"/>
                <a:gd name="connsiteX218" fmla="*/ 434976 w 1343026"/>
                <a:gd name="connsiteY218" fmla="*/ 98071 h 1377950"/>
                <a:gd name="connsiteX219" fmla="*/ 518756 w 1343026"/>
                <a:gd name="connsiteY219" fmla="*/ 14288 h 1377950"/>
                <a:gd name="connsiteX220" fmla="*/ 672368 w 1343026"/>
                <a:gd name="connsiteY220" fmla="*/ 0 h 1377950"/>
                <a:gd name="connsiteX221" fmla="*/ 896624 w 1343026"/>
                <a:gd name="connsiteY221" fmla="*/ 206081 h 1377950"/>
                <a:gd name="connsiteX222" fmla="*/ 908051 w 1343026"/>
                <a:gd name="connsiteY222" fmla="*/ 233273 h 1377950"/>
                <a:gd name="connsiteX223" fmla="*/ 880912 w 1343026"/>
                <a:gd name="connsiteY223" fmla="*/ 238997 h 1377950"/>
                <a:gd name="connsiteX224" fmla="*/ 876627 w 1343026"/>
                <a:gd name="connsiteY224" fmla="*/ 239713 h 1377950"/>
                <a:gd name="connsiteX225" fmla="*/ 867342 w 1343026"/>
                <a:gd name="connsiteY225" fmla="*/ 218246 h 1377950"/>
                <a:gd name="connsiteX226" fmla="*/ 672368 w 1343026"/>
                <a:gd name="connsiteY226" fmla="*/ 31485 h 1377950"/>
                <a:gd name="connsiteX227" fmla="*/ 620946 w 1343026"/>
                <a:gd name="connsiteY227" fmla="*/ 42934 h 1377950"/>
                <a:gd name="connsiteX228" fmla="*/ 601663 w 1343026"/>
                <a:gd name="connsiteY228" fmla="*/ 17173 h 1377950"/>
                <a:gd name="connsiteX229" fmla="*/ 672368 w 1343026"/>
                <a:gd name="connsiteY229" fmla="*/ 0 h 137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43026" h="1377950">
                  <a:moveTo>
                    <a:pt x="468123" y="1138237"/>
                  </a:moveTo>
                  <a:cubicBezTo>
                    <a:pt x="470978" y="1145393"/>
                    <a:pt x="473833" y="1151833"/>
                    <a:pt x="476687" y="1158988"/>
                  </a:cubicBezTo>
                  <a:cubicBezTo>
                    <a:pt x="530211" y="1279203"/>
                    <a:pt x="599434" y="1346465"/>
                    <a:pt x="671513" y="1346465"/>
                  </a:cubicBezTo>
                  <a:cubicBezTo>
                    <a:pt x="743591" y="1346465"/>
                    <a:pt x="812815" y="1279203"/>
                    <a:pt x="866338" y="1158988"/>
                  </a:cubicBezTo>
                  <a:cubicBezTo>
                    <a:pt x="869193" y="1151833"/>
                    <a:pt x="872047" y="1144677"/>
                    <a:pt x="874902" y="1138237"/>
                  </a:cubicBezTo>
                  <a:cubicBezTo>
                    <a:pt x="876329" y="1138237"/>
                    <a:pt x="877757" y="1138953"/>
                    <a:pt x="879184" y="1138953"/>
                  </a:cubicBezTo>
                  <a:cubicBezTo>
                    <a:pt x="888461" y="1141815"/>
                    <a:pt x="896311" y="1143246"/>
                    <a:pt x="904875" y="1144677"/>
                  </a:cubicBezTo>
                  <a:cubicBezTo>
                    <a:pt x="901307" y="1153979"/>
                    <a:pt x="897739" y="1162566"/>
                    <a:pt x="894171" y="1171153"/>
                  </a:cubicBezTo>
                  <a:cubicBezTo>
                    <a:pt x="836365" y="1304247"/>
                    <a:pt x="757150" y="1377950"/>
                    <a:pt x="671513" y="1377950"/>
                  </a:cubicBezTo>
                  <a:cubicBezTo>
                    <a:pt x="585875" y="1377950"/>
                    <a:pt x="506660" y="1304247"/>
                    <a:pt x="448855" y="1171153"/>
                  </a:cubicBezTo>
                  <a:cubicBezTo>
                    <a:pt x="445287" y="1162566"/>
                    <a:pt x="441718" y="1153979"/>
                    <a:pt x="438150" y="1145393"/>
                  </a:cubicBezTo>
                  <a:cubicBezTo>
                    <a:pt x="446714" y="1143962"/>
                    <a:pt x="455278" y="1141815"/>
                    <a:pt x="465269" y="1138953"/>
                  </a:cubicBezTo>
                  <a:cubicBezTo>
                    <a:pt x="465982" y="1138953"/>
                    <a:pt x="467410" y="1138953"/>
                    <a:pt x="468123" y="1138237"/>
                  </a:cubicBezTo>
                  <a:close/>
                  <a:moveTo>
                    <a:pt x="968375" y="906462"/>
                  </a:moveTo>
                  <a:cubicBezTo>
                    <a:pt x="960438" y="958527"/>
                    <a:pt x="949614" y="1007027"/>
                    <a:pt x="935904" y="1054100"/>
                  </a:cubicBezTo>
                  <a:cubicBezTo>
                    <a:pt x="935182" y="1054100"/>
                    <a:pt x="934460" y="1054100"/>
                    <a:pt x="933739" y="1053387"/>
                  </a:cubicBezTo>
                  <a:cubicBezTo>
                    <a:pt x="924358" y="1051960"/>
                    <a:pt x="914978" y="1049821"/>
                    <a:pt x="904875" y="1047681"/>
                  </a:cubicBezTo>
                  <a:cubicBezTo>
                    <a:pt x="915699" y="1010593"/>
                    <a:pt x="925080" y="972079"/>
                    <a:pt x="931574" y="930712"/>
                  </a:cubicBezTo>
                  <a:cubicBezTo>
                    <a:pt x="940233" y="925719"/>
                    <a:pt x="948892" y="920013"/>
                    <a:pt x="956830" y="914307"/>
                  </a:cubicBezTo>
                  <a:cubicBezTo>
                    <a:pt x="956830" y="914307"/>
                    <a:pt x="956830" y="914307"/>
                    <a:pt x="957551" y="913594"/>
                  </a:cubicBezTo>
                  <a:cubicBezTo>
                    <a:pt x="957551" y="913594"/>
                    <a:pt x="957551" y="913594"/>
                    <a:pt x="958273" y="913594"/>
                  </a:cubicBezTo>
                  <a:cubicBezTo>
                    <a:pt x="961159" y="910741"/>
                    <a:pt x="964767" y="908602"/>
                    <a:pt x="968375" y="906462"/>
                  </a:cubicBezTo>
                  <a:close/>
                  <a:moveTo>
                    <a:pt x="376238" y="904875"/>
                  </a:moveTo>
                  <a:cubicBezTo>
                    <a:pt x="380459" y="907731"/>
                    <a:pt x="383977" y="910587"/>
                    <a:pt x="388198" y="914157"/>
                  </a:cubicBezTo>
                  <a:cubicBezTo>
                    <a:pt x="388198" y="914157"/>
                    <a:pt x="388198" y="914157"/>
                    <a:pt x="388902" y="914157"/>
                  </a:cubicBezTo>
                  <a:cubicBezTo>
                    <a:pt x="395937" y="919155"/>
                    <a:pt x="403676" y="924867"/>
                    <a:pt x="411416" y="929865"/>
                  </a:cubicBezTo>
                  <a:cubicBezTo>
                    <a:pt x="418451" y="971276"/>
                    <a:pt x="427597" y="1010546"/>
                    <a:pt x="438151" y="1047674"/>
                  </a:cubicBezTo>
                  <a:cubicBezTo>
                    <a:pt x="429005" y="1049816"/>
                    <a:pt x="419858" y="1051958"/>
                    <a:pt x="411416" y="1053386"/>
                  </a:cubicBezTo>
                  <a:cubicBezTo>
                    <a:pt x="410008" y="1054100"/>
                    <a:pt x="409305" y="1054100"/>
                    <a:pt x="407898" y="1054100"/>
                  </a:cubicBezTo>
                  <a:cubicBezTo>
                    <a:pt x="394530" y="1006976"/>
                    <a:pt x="383977" y="957711"/>
                    <a:pt x="376238" y="904875"/>
                  </a:cubicBezTo>
                  <a:close/>
                  <a:moveTo>
                    <a:pt x="1257300" y="803275"/>
                  </a:moveTo>
                  <a:cubicBezTo>
                    <a:pt x="1227490" y="803275"/>
                    <a:pt x="1203325" y="827085"/>
                    <a:pt x="1203325" y="856457"/>
                  </a:cubicBezTo>
                  <a:cubicBezTo>
                    <a:pt x="1203325" y="885829"/>
                    <a:pt x="1227490" y="909639"/>
                    <a:pt x="1257300" y="909639"/>
                  </a:cubicBezTo>
                  <a:cubicBezTo>
                    <a:pt x="1287110" y="909639"/>
                    <a:pt x="1311275" y="885829"/>
                    <a:pt x="1311275" y="856457"/>
                  </a:cubicBezTo>
                  <a:cubicBezTo>
                    <a:pt x="1311275" y="827085"/>
                    <a:pt x="1287110" y="803275"/>
                    <a:pt x="1257300" y="803275"/>
                  </a:cubicBezTo>
                  <a:close/>
                  <a:moveTo>
                    <a:pt x="85725" y="803275"/>
                  </a:moveTo>
                  <a:cubicBezTo>
                    <a:pt x="55915" y="803275"/>
                    <a:pt x="31750" y="827085"/>
                    <a:pt x="31750" y="856457"/>
                  </a:cubicBezTo>
                  <a:cubicBezTo>
                    <a:pt x="31750" y="885829"/>
                    <a:pt x="55915" y="909639"/>
                    <a:pt x="85725" y="909639"/>
                  </a:cubicBezTo>
                  <a:cubicBezTo>
                    <a:pt x="115535" y="909639"/>
                    <a:pt x="139700" y="885829"/>
                    <a:pt x="139700" y="856457"/>
                  </a:cubicBezTo>
                  <a:cubicBezTo>
                    <a:pt x="139700" y="827085"/>
                    <a:pt x="115535" y="803275"/>
                    <a:pt x="85725" y="803275"/>
                  </a:cubicBezTo>
                  <a:close/>
                  <a:moveTo>
                    <a:pt x="1257739" y="773112"/>
                  </a:moveTo>
                  <a:cubicBezTo>
                    <a:pt x="1305358" y="773112"/>
                    <a:pt x="1343026" y="811453"/>
                    <a:pt x="1343026" y="857605"/>
                  </a:cubicBezTo>
                  <a:cubicBezTo>
                    <a:pt x="1343026" y="880325"/>
                    <a:pt x="1333787" y="900206"/>
                    <a:pt x="1319572" y="915116"/>
                  </a:cubicBezTo>
                  <a:cubicBezTo>
                    <a:pt x="1315308" y="919376"/>
                    <a:pt x="1310333" y="923637"/>
                    <a:pt x="1304647" y="927187"/>
                  </a:cubicBezTo>
                  <a:cubicBezTo>
                    <a:pt x="1298961" y="930737"/>
                    <a:pt x="1293986" y="933577"/>
                    <a:pt x="1289011" y="935707"/>
                  </a:cubicBezTo>
                  <a:cubicBezTo>
                    <a:pt x="1280483" y="939257"/>
                    <a:pt x="1271243" y="941387"/>
                    <a:pt x="1261293" y="941387"/>
                  </a:cubicBezTo>
                  <a:cubicBezTo>
                    <a:pt x="1259872" y="941387"/>
                    <a:pt x="1259161" y="941387"/>
                    <a:pt x="1257739" y="941387"/>
                  </a:cubicBezTo>
                  <a:cubicBezTo>
                    <a:pt x="1252764" y="941387"/>
                    <a:pt x="1247789" y="940677"/>
                    <a:pt x="1242814" y="939967"/>
                  </a:cubicBezTo>
                  <a:cubicBezTo>
                    <a:pt x="1237128" y="939257"/>
                    <a:pt x="1232153" y="937127"/>
                    <a:pt x="1227178" y="935707"/>
                  </a:cubicBezTo>
                  <a:cubicBezTo>
                    <a:pt x="1195906" y="922927"/>
                    <a:pt x="1173163" y="893106"/>
                    <a:pt x="1173163" y="857605"/>
                  </a:cubicBezTo>
                  <a:cubicBezTo>
                    <a:pt x="1173163" y="811453"/>
                    <a:pt x="1211542" y="773112"/>
                    <a:pt x="1257739" y="773112"/>
                  </a:cubicBezTo>
                  <a:close/>
                  <a:moveTo>
                    <a:pt x="86084" y="773112"/>
                  </a:moveTo>
                  <a:cubicBezTo>
                    <a:pt x="133430" y="773112"/>
                    <a:pt x="171450" y="811453"/>
                    <a:pt x="171450" y="857605"/>
                  </a:cubicBezTo>
                  <a:cubicBezTo>
                    <a:pt x="171450" y="893106"/>
                    <a:pt x="149929" y="922217"/>
                    <a:pt x="119083" y="934997"/>
                  </a:cubicBezTo>
                  <a:cubicBezTo>
                    <a:pt x="114061" y="937127"/>
                    <a:pt x="108322" y="938547"/>
                    <a:pt x="102583" y="939967"/>
                  </a:cubicBezTo>
                  <a:cubicBezTo>
                    <a:pt x="97562" y="940677"/>
                    <a:pt x="91823" y="941387"/>
                    <a:pt x="86084" y="941387"/>
                  </a:cubicBezTo>
                  <a:cubicBezTo>
                    <a:pt x="86084" y="941387"/>
                    <a:pt x="86084" y="941387"/>
                    <a:pt x="85367" y="941387"/>
                  </a:cubicBezTo>
                  <a:cubicBezTo>
                    <a:pt x="74606" y="941387"/>
                    <a:pt x="63846" y="939257"/>
                    <a:pt x="54520" y="935707"/>
                  </a:cubicBezTo>
                  <a:cubicBezTo>
                    <a:pt x="50216" y="933577"/>
                    <a:pt x="45194" y="931447"/>
                    <a:pt x="40173" y="928607"/>
                  </a:cubicBezTo>
                  <a:cubicBezTo>
                    <a:pt x="34434" y="925057"/>
                    <a:pt x="29412" y="920797"/>
                    <a:pt x="25108" y="916536"/>
                  </a:cubicBezTo>
                  <a:cubicBezTo>
                    <a:pt x="10043" y="901626"/>
                    <a:pt x="0" y="881035"/>
                    <a:pt x="0" y="857605"/>
                  </a:cubicBezTo>
                  <a:cubicBezTo>
                    <a:pt x="0" y="811453"/>
                    <a:pt x="38021" y="773112"/>
                    <a:pt x="86084" y="773112"/>
                  </a:cubicBezTo>
                  <a:close/>
                  <a:moveTo>
                    <a:pt x="396160" y="574675"/>
                  </a:moveTo>
                  <a:cubicBezTo>
                    <a:pt x="393296" y="612537"/>
                    <a:pt x="391864" y="650399"/>
                    <a:pt x="391864" y="688975"/>
                  </a:cubicBezTo>
                  <a:cubicBezTo>
                    <a:pt x="391864" y="726837"/>
                    <a:pt x="393296" y="765413"/>
                    <a:pt x="396876" y="803275"/>
                  </a:cubicBezTo>
                  <a:cubicBezTo>
                    <a:pt x="396876" y="803275"/>
                    <a:pt x="396876" y="803275"/>
                    <a:pt x="386137" y="796131"/>
                  </a:cubicBezTo>
                  <a:cubicBezTo>
                    <a:pt x="378261" y="789702"/>
                    <a:pt x="371102" y="783272"/>
                    <a:pt x="363227" y="777557"/>
                  </a:cubicBezTo>
                  <a:cubicBezTo>
                    <a:pt x="361795" y="748268"/>
                    <a:pt x="360363" y="718979"/>
                    <a:pt x="360363" y="688975"/>
                  </a:cubicBezTo>
                  <a:cubicBezTo>
                    <a:pt x="360363" y="658971"/>
                    <a:pt x="361795" y="629682"/>
                    <a:pt x="363227" y="601107"/>
                  </a:cubicBezTo>
                  <a:cubicBezTo>
                    <a:pt x="371102" y="594677"/>
                    <a:pt x="378261" y="588248"/>
                    <a:pt x="386137" y="582533"/>
                  </a:cubicBezTo>
                  <a:cubicBezTo>
                    <a:pt x="386137" y="582533"/>
                    <a:pt x="386137" y="582533"/>
                    <a:pt x="396160" y="574675"/>
                  </a:cubicBezTo>
                  <a:close/>
                  <a:moveTo>
                    <a:pt x="946150" y="573087"/>
                  </a:moveTo>
                  <a:cubicBezTo>
                    <a:pt x="946150" y="573087"/>
                    <a:pt x="946150" y="573087"/>
                    <a:pt x="958321" y="582386"/>
                  </a:cubicBezTo>
                  <a:cubicBezTo>
                    <a:pt x="965481" y="588109"/>
                    <a:pt x="972640" y="593832"/>
                    <a:pt x="979799" y="599555"/>
                  </a:cubicBezTo>
                  <a:cubicBezTo>
                    <a:pt x="981231" y="628885"/>
                    <a:pt x="982663" y="658929"/>
                    <a:pt x="982663" y="688974"/>
                  </a:cubicBezTo>
                  <a:cubicBezTo>
                    <a:pt x="982663" y="719735"/>
                    <a:pt x="981231" y="749064"/>
                    <a:pt x="979799" y="779109"/>
                  </a:cubicBezTo>
                  <a:cubicBezTo>
                    <a:pt x="972640" y="784832"/>
                    <a:pt x="965481" y="790555"/>
                    <a:pt x="958321" y="796278"/>
                  </a:cubicBezTo>
                  <a:cubicBezTo>
                    <a:pt x="958321" y="796278"/>
                    <a:pt x="958321" y="796278"/>
                    <a:pt x="946150" y="804862"/>
                  </a:cubicBezTo>
                  <a:cubicBezTo>
                    <a:pt x="949730" y="766233"/>
                    <a:pt x="951162" y="728319"/>
                    <a:pt x="951162" y="688974"/>
                  </a:cubicBezTo>
                  <a:cubicBezTo>
                    <a:pt x="951162" y="649630"/>
                    <a:pt x="949730" y="611716"/>
                    <a:pt x="946150" y="573087"/>
                  </a:cubicBezTo>
                  <a:close/>
                  <a:moveTo>
                    <a:pt x="673102" y="373063"/>
                  </a:moveTo>
                  <a:cubicBezTo>
                    <a:pt x="626676" y="393785"/>
                    <a:pt x="579535" y="418080"/>
                    <a:pt x="533109" y="444519"/>
                  </a:cubicBezTo>
                  <a:cubicBezTo>
                    <a:pt x="486683" y="471672"/>
                    <a:pt x="442399" y="500254"/>
                    <a:pt x="401687" y="530265"/>
                  </a:cubicBezTo>
                  <a:cubicBezTo>
                    <a:pt x="400973" y="530265"/>
                    <a:pt x="400973" y="530980"/>
                    <a:pt x="400259" y="530980"/>
                  </a:cubicBezTo>
                  <a:cubicBezTo>
                    <a:pt x="389545" y="539555"/>
                    <a:pt x="378117" y="547415"/>
                    <a:pt x="367403" y="555989"/>
                  </a:cubicBezTo>
                  <a:cubicBezTo>
                    <a:pt x="366689" y="555989"/>
                    <a:pt x="366689" y="556704"/>
                    <a:pt x="365975" y="556704"/>
                  </a:cubicBezTo>
                  <a:cubicBezTo>
                    <a:pt x="312406" y="598863"/>
                    <a:pt x="263837" y="643165"/>
                    <a:pt x="223839" y="688182"/>
                  </a:cubicBezTo>
                  <a:cubicBezTo>
                    <a:pt x="263837" y="732485"/>
                    <a:pt x="312406" y="777502"/>
                    <a:pt x="365975" y="818946"/>
                  </a:cubicBezTo>
                  <a:cubicBezTo>
                    <a:pt x="366689" y="819660"/>
                    <a:pt x="366689" y="819660"/>
                    <a:pt x="367403" y="820375"/>
                  </a:cubicBezTo>
                  <a:cubicBezTo>
                    <a:pt x="378117" y="828235"/>
                    <a:pt x="389545" y="836810"/>
                    <a:pt x="400259" y="845384"/>
                  </a:cubicBezTo>
                  <a:cubicBezTo>
                    <a:pt x="400973" y="845384"/>
                    <a:pt x="400973" y="845384"/>
                    <a:pt x="401687" y="846099"/>
                  </a:cubicBezTo>
                  <a:cubicBezTo>
                    <a:pt x="442399" y="876110"/>
                    <a:pt x="486683" y="904692"/>
                    <a:pt x="533109" y="931846"/>
                  </a:cubicBezTo>
                  <a:cubicBezTo>
                    <a:pt x="579535" y="958284"/>
                    <a:pt x="626676" y="982579"/>
                    <a:pt x="673102" y="1003301"/>
                  </a:cubicBezTo>
                  <a:cubicBezTo>
                    <a:pt x="719528" y="982579"/>
                    <a:pt x="766668" y="958284"/>
                    <a:pt x="813094" y="931846"/>
                  </a:cubicBezTo>
                  <a:cubicBezTo>
                    <a:pt x="859521" y="904692"/>
                    <a:pt x="903804" y="876110"/>
                    <a:pt x="945231" y="846099"/>
                  </a:cubicBezTo>
                  <a:cubicBezTo>
                    <a:pt x="956658" y="837524"/>
                    <a:pt x="968086" y="828950"/>
                    <a:pt x="979514" y="820375"/>
                  </a:cubicBezTo>
                  <a:cubicBezTo>
                    <a:pt x="1033083" y="778216"/>
                    <a:pt x="1081652" y="733199"/>
                    <a:pt x="1122364" y="688182"/>
                  </a:cubicBezTo>
                  <a:cubicBezTo>
                    <a:pt x="1081652" y="643165"/>
                    <a:pt x="1033083" y="598148"/>
                    <a:pt x="979514" y="555989"/>
                  </a:cubicBezTo>
                  <a:cubicBezTo>
                    <a:pt x="978800" y="555989"/>
                    <a:pt x="978800" y="555275"/>
                    <a:pt x="978800" y="555275"/>
                  </a:cubicBezTo>
                  <a:cubicBezTo>
                    <a:pt x="967372" y="546700"/>
                    <a:pt x="955944" y="538840"/>
                    <a:pt x="945231" y="530265"/>
                  </a:cubicBezTo>
                  <a:cubicBezTo>
                    <a:pt x="944516" y="530265"/>
                    <a:pt x="944516" y="529551"/>
                    <a:pt x="944516" y="529551"/>
                  </a:cubicBezTo>
                  <a:cubicBezTo>
                    <a:pt x="903090" y="499539"/>
                    <a:pt x="858806" y="471672"/>
                    <a:pt x="813094" y="444519"/>
                  </a:cubicBezTo>
                  <a:cubicBezTo>
                    <a:pt x="766668" y="418080"/>
                    <a:pt x="719528" y="393785"/>
                    <a:pt x="673102" y="373063"/>
                  </a:cubicBezTo>
                  <a:close/>
                  <a:moveTo>
                    <a:pt x="936625" y="322262"/>
                  </a:moveTo>
                  <a:cubicBezTo>
                    <a:pt x="949614" y="369386"/>
                    <a:pt x="960438" y="419365"/>
                    <a:pt x="968375" y="471487"/>
                  </a:cubicBezTo>
                  <a:cubicBezTo>
                    <a:pt x="964767" y="469345"/>
                    <a:pt x="961159" y="466489"/>
                    <a:pt x="957551" y="464347"/>
                  </a:cubicBezTo>
                  <a:cubicBezTo>
                    <a:pt x="957551" y="464347"/>
                    <a:pt x="957551" y="464347"/>
                    <a:pt x="956830" y="463633"/>
                  </a:cubicBezTo>
                  <a:cubicBezTo>
                    <a:pt x="948892" y="458635"/>
                    <a:pt x="940233" y="452923"/>
                    <a:pt x="932296" y="447211"/>
                  </a:cubicBezTo>
                  <a:cubicBezTo>
                    <a:pt x="925080" y="406513"/>
                    <a:pt x="915699" y="366530"/>
                    <a:pt x="904875" y="328688"/>
                  </a:cubicBezTo>
                  <a:cubicBezTo>
                    <a:pt x="914978" y="327260"/>
                    <a:pt x="924358" y="325118"/>
                    <a:pt x="933739" y="322976"/>
                  </a:cubicBezTo>
                  <a:cubicBezTo>
                    <a:pt x="934460" y="322976"/>
                    <a:pt x="935182" y="322976"/>
                    <a:pt x="936625" y="322262"/>
                  </a:cubicBezTo>
                  <a:close/>
                  <a:moveTo>
                    <a:pt x="407194" y="322262"/>
                  </a:moveTo>
                  <a:cubicBezTo>
                    <a:pt x="408601" y="322262"/>
                    <a:pt x="410008" y="322977"/>
                    <a:pt x="411416" y="322977"/>
                  </a:cubicBezTo>
                  <a:cubicBezTo>
                    <a:pt x="419858" y="325121"/>
                    <a:pt x="429005" y="326550"/>
                    <a:pt x="438151" y="328695"/>
                  </a:cubicBezTo>
                  <a:cubicBezTo>
                    <a:pt x="427597" y="366577"/>
                    <a:pt x="418451" y="407318"/>
                    <a:pt x="411416" y="448773"/>
                  </a:cubicBezTo>
                  <a:cubicBezTo>
                    <a:pt x="403676" y="453777"/>
                    <a:pt x="395937" y="458780"/>
                    <a:pt x="388902" y="463783"/>
                  </a:cubicBezTo>
                  <a:cubicBezTo>
                    <a:pt x="388902" y="463783"/>
                    <a:pt x="388902" y="463783"/>
                    <a:pt x="388198" y="464498"/>
                  </a:cubicBezTo>
                  <a:cubicBezTo>
                    <a:pt x="383977" y="467357"/>
                    <a:pt x="380459" y="470216"/>
                    <a:pt x="376238" y="473075"/>
                  </a:cubicBezTo>
                  <a:cubicBezTo>
                    <a:pt x="383977" y="420183"/>
                    <a:pt x="394530" y="369436"/>
                    <a:pt x="407194" y="322262"/>
                  </a:cubicBezTo>
                  <a:close/>
                  <a:moveTo>
                    <a:pt x="1045377" y="280988"/>
                  </a:moveTo>
                  <a:cubicBezTo>
                    <a:pt x="1008883" y="280988"/>
                    <a:pt x="970242" y="285265"/>
                    <a:pt x="928022" y="292392"/>
                  </a:cubicBezTo>
                  <a:cubicBezTo>
                    <a:pt x="927307" y="292392"/>
                    <a:pt x="927307" y="292392"/>
                    <a:pt x="927307" y="292392"/>
                  </a:cubicBezTo>
                  <a:cubicBezTo>
                    <a:pt x="917289" y="294530"/>
                    <a:pt x="907271" y="296669"/>
                    <a:pt x="897253" y="298807"/>
                  </a:cubicBezTo>
                  <a:cubicBezTo>
                    <a:pt x="896537" y="298807"/>
                    <a:pt x="896537" y="298807"/>
                    <a:pt x="896537" y="298807"/>
                  </a:cubicBezTo>
                  <a:cubicBezTo>
                    <a:pt x="837144" y="311637"/>
                    <a:pt x="774889" y="331594"/>
                    <a:pt x="711202" y="357966"/>
                  </a:cubicBezTo>
                  <a:cubicBezTo>
                    <a:pt x="749843" y="375785"/>
                    <a:pt x="789200" y="396454"/>
                    <a:pt x="827842" y="418550"/>
                  </a:cubicBezTo>
                  <a:cubicBezTo>
                    <a:pt x="866483" y="441358"/>
                    <a:pt x="903693" y="464879"/>
                    <a:pt x="939472" y="489113"/>
                  </a:cubicBezTo>
                  <a:cubicBezTo>
                    <a:pt x="951637" y="497666"/>
                    <a:pt x="963086" y="506219"/>
                    <a:pt x="974535" y="514772"/>
                  </a:cubicBezTo>
                  <a:cubicBezTo>
                    <a:pt x="1037506" y="561814"/>
                    <a:pt x="1094752" y="613132"/>
                    <a:pt x="1142696" y="665163"/>
                  </a:cubicBezTo>
                  <a:cubicBezTo>
                    <a:pt x="1154861" y="650908"/>
                    <a:pt x="1165594" y="636653"/>
                    <a:pt x="1176328" y="623111"/>
                  </a:cubicBezTo>
                  <a:cubicBezTo>
                    <a:pt x="1254326" y="516197"/>
                    <a:pt x="1277940" y="422826"/>
                    <a:pt x="1241446" y="360104"/>
                  </a:cubicBezTo>
                  <a:cubicBezTo>
                    <a:pt x="1222841" y="328030"/>
                    <a:pt x="1189209" y="305222"/>
                    <a:pt x="1141980" y="292392"/>
                  </a:cubicBezTo>
                  <a:cubicBezTo>
                    <a:pt x="1113357" y="284552"/>
                    <a:pt x="1080441" y="280988"/>
                    <a:pt x="1045377" y="280988"/>
                  </a:cubicBezTo>
                  <a:close/>
                  <a:moveTo>
                    <a:pt x="300177" y="280988"/>
                  </a:moveTo>
                  <a:cubicBezTo>
                    <a:pt x="265211" y="280988"/>
                    <a:pt x="232387" y="284552"/>
                    <a:pt x="203844" y="292392"/>
                  </a:cubicBezTo>
                  <a:cubicBezTo>
                    <a:pt x="156748" y="305222"/>
                    <a:pt x="123210" y="328030"/>
                    <a:pt x="104657" y="360104"/>
                  </a:cubicBezTo>
                  <a:cubicBezTo>
                    <a:pt x="68265" y="422826"/>
                    <a:pt x="91813" y="516197"/>
                    <a:pt x="169593" y="623111"/>
                  </a:cubicBezTo>
                  <a:cubicBezTo>
                    <a:pt x="180296" y="636653"/>
                    <a:pt x="191000" y="650908"/>
                    <a:pt x="203131" y="665163"/>
                  </a:cubicBezTo>
                  <a:cubicBezTo>
                    <a:pt x="250940" y="613132"/>
                    <a:pt x="308026" y="561814"/>
                    <a:pt x="371534" y="514772"/>
                  </a:cubicBezTo>
                  <a:cubicBezTo>
                    <a:pt x="382951" y="506219"/>
                    <a:pt x="394368" y="497666"/>
                    <a:pt x="406499" y="489113"/>
                  </a:cubicBezTo>
                  <a:cubicBezTo>
                    <a:pt x="441464" y="464879"/>
                    <a:pt x="478570" y="441358"/>
                    <a:pt x="517103" y="418550"/>
                  </a:cubicBezTo>
                  <a:cubicBezTo>
                    <a:pt x="555636" y="396454"/>
                    <a:pt x="594882" y="375785"/>
                    <a:pt x="633415" y="357966"/>
                  </a:cubicBezTo>
                  <a:cubicBezTo>
                    <a:pt x="569907" y="331594"/>
                    <a:pt x="507113" y="311637"/>
                    <a:pt x="447886" y="298807"/>
                  </a:cubicBezTo>
                  <a:cubicBezTo>
                    <a:pt x="447886" y="298807"/>
                    <a:pt x="447886" y="298807"/>
                    <a:pt x="447173" y="298807"/>
                  </a:cubicBezTo>
                  <a:cubicBezTo>
                    <a:pt x="437183" y="296669"/>
                    <a:pt x="427193" y="294530"/>
                    <a:pt x="417916" y="292392"/>
                  </a:cubicBezTo>
                  <a:cubicBezTo>
                    <a:pt x="417203" y="292392"/>
                    <a:pt x="417203" y="292392"/>
                    <a:pt x="416489" y="292392"/>
                  </a:cubicBezTo>
                  <a:cubicBezTo>
                    <a:pt x="375102" y="285265"/>
                    <a:pt x="335855" y="280988"/>
                    <a:pt x="300177" y="280988"/>
                  </a:cubicBezTo>
                  <a:close/>
                  <a:moveTo>
                    <a:pt x="1046113" y="249238"/>
                  </a:moveTo>
                  <a:cubicBezTo>
                    <a:pt x="1083994" y="249238"/>
                    <a:pt x="1119016" y="253525"/>
                    <a:pt x="1149749" y="262098"/>
                  </a:cubicBezTo>
                  <a:cubicBezTo>
                    <a:pt x="1205498" y="277101"/>
                    <a:pt x="1245523" y="304250"/>
                    <a:pt x="1268394" y="344259"/>
                  </a:cubicBezTo>
                  <a:cubicBezTo>
                    <a:pt x="1311278" y="418560"/>
                    <a:pt x="1287692" y="524297"/>
                    <a:pt x="1201210" y="642180"/>
                  </a:cubicBezTo>
                  <a:cubicBezTo>
                    <a:pt x="1145461" y="718625"/>
                    <a:pt x="1066840" y="794355"/>
                    <a:pt x="974640" y="863656"/>
                  </a:cubicBezTo>
                  <a:cubicBezTo>
                    <a:pt x="973925" y="863656"/>
                    <a:pt x="973925" y="863656"/>
                    <a:pt x="973925" y="863656"/>
                  </a:cubicBezTo>
                  <a:cubicBezTo>
                    <a:pt x="962490" y="872229"/>
                    <a:pt x="950339" y="880803"/>
                    <a:pt x="939618" y="889376"/>
                  </a:cubicBezTo>
                  <a:cubicBezTo>
                    <a:pt x="938904" y="889376"/>
                    <a:pt x="938904" y="889376"/>
                    <a:pt x="938904" y="889376"/>
                  </a:cubicBezTo>
                  <a:cubicBezTo>
                    <a:pt x="903167" y="913667"/>
                    <a:pt x="866001" y="937243"/>
                    <a:pt x="828120" y="960105"/>
                  </a:cubicBezTo>
                  <a:cubicBezTo>
                    <a:pt x="789525" y="982253"/>
                    <a:pt x="750215" y="1002972"/>
                    <a:pt x="711619" y="1020833"/>
                  </a:cubicBezTo>
                  <a:cubicBezTo>
                    <a:pt x="775230" y="1047267"/>
                    <a:pt x="838127" y="1066557"/>
                    <a:pt x="897449" y="1079417"/>
                  </a:cubicBezTo>
                  <a:cubicBezTo>
                    <a:pt x="908170" y="1081560"/>
                    <a:pt x="918176" y="1083703"/>
                    <a:pt x="928183" y="1085847"/>
                  </a:cubicBezTo>
                  <a:cubicBezTo>
                    <a:pt x="969637" y="1093706"/>
                    <a:pt x="1008233" y="1097992"/>
                    <a:pt x="1044684" y="1097992"/>
                  </a:cubicBezTo>
                  <a:cubicBezTo>
                    <a:pt x="1080420" y="1097992"/>
                    <a:pt x="1113298" y="1093706"/>
                    <a:pt x="1141887" y="1085847"/>
                  </a:cubicBezTo>
                  <a:cubicBezTo>
                    <a:pt x="1189059" y="1072987"/>
                    <a:pt x="1222652" y="1050839"/>
                    <a:pt x="1241235" y="1018689"/>
                  </a:cubicBezTo>
                  <a:cubicBezTo>
                    <a:pt x="1249097" y="1005115"/>
                    <a:pt x="1254100" y="990112"/>
                    <a:pt x="1256244" y="974394"/>
                  </a:cubicBezTo>
                  <a:cubicBezTo>
                    <a:pt x="1256244" y="974394"/>
                    <a:pt x="1256244" y="974394"/>
                    <a:pt x="1256959" y="974394"/>
                  </a:cubicBezTo>
                  <a:cubicBezTo>
                    <a:pt x="1256959" y="974394"/>
                    <a:pt x="1256959" y="974394"/>
                    <a:pt x="1260532" y="974394"/>
                  </a:cubicBezTo>
                  <a:cubicBezTo>
                    <a:pt x="1269824" y="974394"/>
                    <a:pt x="1279115" y="972965"/>
                    <a:pt x="1288407" y="970108"/>
                  </a:cubicBezTo>
                  <a:cubicBezTo>
                    <a:pt x="1286263" y="993684"/>
                    <a:pt x="1279830" y="1015117"/>
                    <a:pt x="1268394" y="1034407"/>
                  </a:cubicBezTo>
                  <a:cubicBezTo>
                    <a:pt x="1245523" y="1073701"/>
                    <a:pt x="1205498" y="1101564"/>
                    <a:pt x="1149749" y="1116568"/>
                  </a:cubicBezTo>
                  <a:cubicBezTo>
                    <a:pt x="1119016" y="1125141"/>
                    <a:pt x="1084709" y="1128713"/>
                    <a:pt x="1046828" y="1128713"/>
                  </a:cubicBezTo>
                  <a:cubicBezTo>
                    <a:pt x="1006803" y="1128713"/>
                    <a:pt x="963919" y="1124427"/>
                    <a:pt x="918176" y="1115853"/>
                  </a:cubicBezTo>
                  <a:cubicBezTo>
                    <a:pt x="917462" y="1115853"/>
                    <a:pt x="917462" y="1115853"/>
                    <a:pt x="917462" y="1115853"/>
                  </a:cubicBezTo>
                  <a:cubicBezTo>
                    <a:pt x="907456" y="1114424"/>
                    <a:pt x="897449" y="1112281"/>
                    <a:pt x="887443" y="1109423"/>
                  </a:cubicBezTo>
                  <a:cubicBezTo>
                    <a:pt x="886728" y="1109423"/>
                    <a:pt x="886728" y="1109423"/>
                    <a:pt x="886728" y="1109423"/>
                  </a:cubicBezTo>
                  <a:cubicBezTo>
                    <a:pt x="818114" y="1093706"/>
                    <a:pt x="745926" y="1069415"/>
                    <a:pt x="672309" y="1038694"/>
                  </a:cubicBezTo>
                  <a:cubicBezTo>
                    <a:pt x="598692" y="1069415"/>
                    <a:pt x="525789" y="1093706"/>
                    <a:pt x="457175" y="1109423"/>
                  </a:cubicBezTo>
                  <a:cubicBezTo>
                    <a:pt x="457175" y="1110138"/>
                    <a:pt x="457175" y="1110138"/>
                    <a:pt x="457175" y="1110138"/>
                  </a:cubicBezTo>
                  <a:cubicBezTo>
                    <a:pt x="446454" y="1112995"/>
                    <a:pt x="436448" y="1115139"/>
                    <a:pt x="427157" y="1115853"/>
                  </a:cubicBezTo>
                  <a:cubicBezTo>
                    <a:pt x="426442" y="1116568"/>
                    <a:pt x="426442" y="1116568"/>
                    <a:pt x="426442" y="1116568"/>
                  </a:cubicBezTo>
                  <a:cubicBezTo>
                    <a:pt x="380699" y="1125141"/>
                    <a:pt x="337101" y="1128713"/>
                    <a:pt x="297790" y="1128713"/>
                  </a:cubicBezTo>
                  <a:cubicBezTo>
                    <a:pt x="259910" y="1128713"/>
                    <a:pt x="225603" y="1125141"/>
                    <a:pt x="194869" y="1116568"/>
                  </a:cubicBezTo>
                  <a:cubicBezTo>
                    <a:pt x="139120" y="1101564"/>
                    <a:pt x="99095" y="1073701"/>
                    <a:pt x="76224" y="1034407"/>
                  </a:cubicBezTo>
                  <a:cubicBezTo>
                    <a:pt x="64788" y="1015117"/>
                    <a:pt x="58356" y="993684"/>
                    <a:pt x="56212" y="970108"/>
                  </a:cubicBezTo>
                  <a:cubicBezTo>
                    <a:pt x="66218" y="972965"/>
                    <a:pt x="76224" y="974394"/>
                    <a:pt x="85516" y="974394"/>
                  </a:cubicBezTo>
                  <a:cubicBezTo>
                    <a:pt x="85516" y="974394"/>
                    <a:pt x="85516" y="974394"/>
                    <a:pt x="86230" y="974394"/>
                  </a:cubicBezTo>
                  <a:cubicBezTo>
                    <a:pt x="86945" y="974394"/>
                    <a:pt x="87660" y="974394"/>
                    <a:pt x="88374" y="974394"/>
                  </a:cubicBezTo>
                  <a:cubicBezTo>
                    <a:pt x="90519" y="990112"/>
                    <a:pt x="96237" y="1005115"/>
                    <a:pt x="103384" y="1018689"/>
                  </a:cubicBezTo>
                  <a:cubicBezTo>
                    <a:pt x="121967" y="1050839"/>
                    <a:pt x="155559" y="1072987"/>
                    <a:pt x="202731" y="1085847"/>
                  </a:cubicBezTo>
                  <a:cubicBezTo>
                    <a:pt x="231321" y="1093706"/>
                    <a:pt x="264198" y="1097992"/>
                    <a:pt x="299220" y="1097992"/>
                  </a:cubicBezTo>
                  <a:cubicBezTo>
                    <a:pt x="335671" y="1097992"/>
                    <a:pt x="374981" y="1092991"/>
                    <a:pt x="417150" y="1085847"/>
                  </a:cubicBezTo>
                  <a:cubicBezTo>
                    <a:pt x="427157" y="1083703"/>
                    <a:pt x="436448" y="1081560"/>
                    <a:pt x="447169" y="1079417"/>
                  </a:cubicBezTo>
                  <a:cubicBezTo>
                    <a:pt x="506492" y="1066557"/>
                    <a:pt x="569388" y="1047267"/>
                    <a:pt x="632999" y="1020833"/>
                  </a:cubicBezTo>
                  <a:cubicBezTo>
                    <a:pt x="594404" y="1002972"/>
                    <a:pt x="555093" y="982253"/>
                    <a:pt x="516498" y="960105"/>
                  </a:cubicBezTo>
                  <a:cubicBezTo>
                    <a:pt x="477903" y="937243"/>
                    <a:pt x="440737" y="913667"/>
                    <a:pt x="405715" y="889376"/>
                  </a:cubicBezTo>
                  <a:cubicBezTo>
                    <a:pt x="393564" y="880803"/>
                    <a:pt x="382129" y="872229"/>
                    <a:pt x="370693" y="863656"/>
                  </a:cubicBezTo>
                  <a:cubicBezTo>
                    <a:pt x="307082" y="816503"/>
                    <a:pt x="249904" y="765063"/>
                    <a:pt x="202017" y="712909"/>
                  </a:cubicBezTo>
                  <a:cubicBezTo>
                    <a:pt x="202017" y="712909"/>
                    <a:pt x="202017" y="712909"/>
                    <a:pt x="201302" y="712909"/>
                  </a:cubicBezTo>
                  <a:cubicBezTo>
                    <a:pt x="194869" y="705051"/>
                    <a:pt x="187722" y="697192"/>
                    <a:pt x="181289" y="689333"/>
                  </a:cubicBezTo>
                  <a:cubicBezTo>
                    <a:pt x="181289" y="689333"/>
                    <a:pt x="181289" y="689333"/>
                    <a:pt x="180575" y="689333"/>
                  </a:cubicBezTo>
                  <a:cubicBezTo>
                    <a:pt x="167710" y="673615"/>
                    <a:pt x="154844" y="657898"/>
                    <a:pt x="143409" y="642180"/>
                  </a:cubicBezTo>
                  <a:cubicBezTo>
                    <a:pt x="56926" y="524297"/>
                    <a:pt x="33340" y="418560"/>
                    <a:pt x="76224" y="344259"/>
                  </a:cubicBezTo>
                  <a:cubicBezTo>
                    <a:pt x="99095" y="304250"/>
                    <a:pt x="139120" y="277101"/>
                    <a:pt x="194869" y="262098"/>
                  </a:cubicBezTo>
                  <a:cubicBezTo>
                    <a:pt x="225603" y="253525"/>
                    <a:pt x="260625" y="249953"/>
                    <a:pt x="298505" y="249953"/>
                  </a:cubicBezTo>
                  <a:cubicBezTo>
                    <a:pt x="405000" y="249953"/>
                    <a:pt x="537225" y="281388"/>
                    <a:pt x="672309" y="339972"/>
                  </a:cubicBezTo>
                  <a:cubicBezTo>
                    <a:pt x="745926" y="308537"/>
                    <a:pt x="818829" y="284246"/>
                    <a:pt x="887443" y="269242"/>
                  </a:cubicBezTo>
                  <a:cubicBezTo>
                    <a:pt x="898164" y="266385"/>
                    <a:pt x="908170" y="264241"/>
                    <a:pt x="918176" y="262812"/>
                  </a:cubicBezTo>
                  <a:cubicBezTo>
                    <a:pt x="963205" y="254239"/>
                    <a:pt x="1006803" y="249238"/>
                    <a:pt x="1046113" y="249238"/>
                  </a:cubicBezTo>
                  <a:close/>
                  <a:moveTo>
                    <a:pt x="518757" y="44451"/>
                  </a:moveTo>
                  <a:cubicBezTo>
                    <a:pt x="490247" y="44451"/>
                    <a:pt x="466726" y="68360"/>
                    <a:pt x="466726" y="98064"/>
                  </a:cubicBezTo>
                  <a:cubicBezTo>
                    <a:pt x="466726" y="127768"/>
                    <a:pt x="490247" y="152401"/>
                    <a:pt x="518757" y="152401"/>
                  </a:cubicBezTo>
                  <a:cubicBezTo>
                    <a:pt x="548693" y="152401"/>
                    <a:pt x="571501" y="127768"/>
                    <a:pt x="571501" y="98064"/>
                  </a:cubicBezTo>
                  <a:cubicBezTo>
                    <a:pt x="571501" y="68360"/>
                    <a:pt x="548693" y="44451"/>
                    <a:pt x="518757" y="44451"/>
                  </a:cubicBezTo>
                  <a:close/>
                  <a:moveTo>
                    <a:pt x="518756" y="14288"/>
                  </a:moveTo>
                  <a:cubicBezTo>
                    <a:pt x="540238" y="14288"/>
                    <a:pt x="558855" y="21388"/>
                    <a:pt x="572460" y="33459"/>
                  </a:cubicBezTo>
                  <a:cubicBezTo>
                    <a:pt x="573177" y="34169"/>
                    <a:pt x="573177" y="34169"/>
                    <a:pt x="573177" y="34169"/>
                  </a:cubicBezTo>
                  <a:cubicBezTo>
                    <a:pt x="581053" y="40559"/>
                    <a:pt x="588214" y="48369"/>
                    <a:pt x="593226" y="57599"/>
                  </a:cubicBezTo>
                  <a:cubicBezTo>
                    <a:pt x="593226" y="57599"/>
                    <a:pt x="593226" y="57599"/>
                    <a:pt x="593226" y="58309"/>
                  </a:cubicBezTo>
                  <a:cubicBezTo>
                    <a:pt x="599671" y="70380"/>
                    <a:pt x="603251" y="83870"/>
                    <a:pt x="603251" y="98071"/>
                  </a:cubicBezTo>
                  <a:cubicBezTo>
                    <a:pt x="603251" y="144222"/>
                    <a:pt x="565300" y="182563"/>
                    <a:pt x="518756" y="182563"/>
                  </a:cubicBezTo>
                  <a:cubicBezTo>
                    <a:pt x="472928" y="182563"/>
                    <a:pt x="434976" y="144222"/>
                    <a:pt x="434976" y="98071"/>
                  </a:cubicBezTo>
                  <a:cubicBezTo>
                    <a:pt x="434976" y="51919"/>
                    <a:pt x="472928" y="14288"/>
                    <a:pt x="518756" y="14288"/>
                  </a:cubicBezTo>
                  <a:close/>
                  <a:moveTo>
                    <a:pt x="672368" y="0"/>
                  </a:moveTo>
                  <a:cubicBezTo>
                    <a:pt x="758071" y="0"/>
                    <a:pt x="837346" y="73703"/>
                    <a:pt x="896624" y="206081"/>
                  </a:cubicBezTo>
                  <a:cubicBezTo>
                    <a:pt x="900195" y="215384"/>
                    <a:pt x="904480" y="223971"/>
                    <a:pt x="908051" y="233273"/>
                  </a:cubicBezTo>
                  <a:cubicBezTo>
                    <a:pt x="899481" y="234704"/>
                    <a:pt x="890911" y="236851"/>
                    <a:pt x="880912" y="238997"/>
                  </a:cubicBezTo>
                  <a:cubicBezTo>
                    <a:pt x="879484" y="239713"/>
                    <a:pt x="878055" y="239713"/>
                    <a:pt x="876627" y="239713"/>
                  </a:cubicBezTo>
                  <a:cubicBezTo>
                    <a:pt x="873770" y="232557"/>
                    <a:pt x="870913" y="225402"/>
                    <a:pt x="867342" y="218246"/>
                  </a:cubicBezTo>
                  <a:cubicBezTo>
                    <a:pt x="813778" y="98032"/>
                    <a:pt x="744501" y="31485"/>
                    <a:pt x="672368" y="31485"/>
                  </a:cubicBezTo>
                  <a:cubicBezTo>
                    <a:pt x="654513" y="31485"/>
                    <a:pt x="637373" y="35062"/>
                    <a:pt x="620946" y="42934"/>
                  </a:cubicBezTo>
                  <a:cubicBezTo>
                    <a:pt x="615233" y="33631"/>
                    <a:pt x="608805" y="25045"/>
                    <a:pt x="601663" y="17173"/>
                  </a:cubicBezTo>
                  <a:cubicBezTo>
                    <a:pt x="624517" y="5724"/>
                    <a:pt x="648086" y="0"/>
                    <a:pt x="67236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34" name="Rectangle 33">
            <a:extLst>
              <a:ext uri="{FF2B5EF4-FFF2-40B4-BE49-F238E27FC236}">
                <a16:creationId xmlns:a16="http://schemas.microsoft.com/office/drawing/2014/main" id="{82C37590-6CA9-482B-9E2E-CC02901DF5C9}"/>
              </a:ext>
            </a:extLst>
          </p:cNvPr>
          <p:cNvSpPr/>
          <p:nvPr/>
        </p:nvSpPr>
        <p:spPr>
          <a:xfrm>
            <a:off x="1519364" y="4326768"/>
            <a:ext cx="56569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Trebuchet MS"/>
              </a:rPr>
              <a:t>This solution supports intuitive UI for retailers to decide  promotion calendar and simulate the best optimized   calendar to maximize sales or profit.</a:t>
            </a:r>
            <a:endParaRPr kumimoji="0" lang="en-US" sz="16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35" name="Group 34">
            <a:extLst>
              <a:ext uri="{FF2B5EF4-FFF2-40B4-BE49-F238E27FC236}">
                <a16:creationId xmlns:a16="http://schemas.microsoft.com/office/drawing/2014/main" id="{C77D7F61-FF6A-436A-BA75-B08A7CA5F187}"/>
              </a:ext>
            </a:extLst>
          </p:cNvPr>
          <p:cNvGrpSpPr>
            <a:grpSpLocks noChangeAspect="1"/>
          </p:cNvGrpSpPr>
          <p:nvPr/>
        </p:nvGrpSpPr>
        <p:grpSpPr>
          <a:xfrm>
            <a:off x="904230" y="4458678"/>
            <a:ext cx="577822" cy="577266"/>
            <a:chOff x="5272088" y="2605881"/>
            <a:chExt cx="1647825" cy="1646238"/>
          </a:xfrm>
        </p:grpSpPr>
        <p:sp>
          <p:nvSpPr>
            <p:cNvPr id="36" name="AutoShape 22">
              <a:extLst>
                <a:ext uri="{FF2B5EF4-FFF2-40B4-BE49-F238E27FC236}">
                  <a16:creationId xmlns:a16="http://schemas.microsoft.com/office/drawing/2014/main" id="{E06D4AE8-D1C1-4C6C-8567-57A21DCD466D}"/>
                </a:ext>
              </a:extLst>
            </p:cNvPr>
            <p:cNvSpPr>
              <a:spLocks noChangeAspect="1" noChangeArrowheads="1" noTextEdit="1"/>
            </p:cNvSpPr>
            <p:nvPr/>
          </p:nvSpPr>
          <p:spPr bwMode="auto">
            <a:xfrm>
              <a:off x="5272088" y="2605881"/>
              <a:ext cx="1647825"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25">
              <a:extLst>
                <a:ext uri="{FF2B5EF4-FFF2-40B4-BE49-F238E27FC236}">
                  <a16:creationId xmlns:a16="http://schemas.microsoft.com/office/drawing/2014/main" id="{39D349F9-AACD-4878-B1F6-D7A9AB5FB7C4}"/>
                </a:ext>
              </a:extLst>
            </p:cNvPr>
            <p:cNvSpPr>
              <a:spLocks/>
            </p:cNvSpPr>
            <p:nvPr/>
          </p:nvSpPr>
          <p:spPr bwMode="auto">
            <a:xfrm>
              <a:off x="5424486" y="2740817"/>
              <a:ext cx="1343026" cy="1377950"/>
            </a:xfrm>
            <a:custGeom>
              <a:avLst/>
              <a:gdLst>
                <a:gd name="connsiteX0" fmla="*/ 468123 w 1343026"/>
                <a:gd name="connsiteY0" fmla="*/ 1138237 h 1377950"/>
                <a:gd name="connsiteX1" fmla="*/ 476687 w 1343026"/>
                <a:gd name="connsiteY1" fmla="*/ 1158988 h 1377950"/>
                <a:gd name="connsiteX2" fmla="*/ 671513 w 1343026"/>
                <a:gd name="connsiteY2" fmla="*/ 1346465 h 1377950"/>
                <a:gd name="connsiteX3" fmla="*/ 866338 w 1343026"/>
                <a:gd name="connsiteY3" fmla="*/ 1158988 h 1377950"/>
                <a:gd name="connsiteX4" fmla="*/ 874902 w 1343026"/>
                <a:gd name="connsiteY4" fmla="*/ 1138237 h 1377950"/>
                <a:gd name="connsiteX5" fmla="*/ 879184 w 1343026"/>
                <a:gd name="connsiteY5" fmla="*/ 1138953 h 1377950"/>
                <a:gd name="connsiteX6" fmla="*/ 904875 w 1343026"/>
                <a:gd name="connsiteY6" fmla="*/ 1144677 h 1377950"/>
                <a:gd name="connsiteX7" fmla="*/ 894171 w 1343026"/>
                <a:gd name="connsiteY7" fmla="*/ 1171153 h 1377950"/>
                <a:gd name="connsiteX8" fmla="*/ 671513 w 1343026"/>
                <a:gd name="connsiteY8" fmla="*/ 1377950 h 1377950"/>
                <a:gd name="connsiteX9" fmla="*/ 448855 w 1343026"/>
                <a:gd name="connsiteY9" fmla="*/ 1171153 h 1377950"/>
                <a:gd name="connsiteX10" fmla="*/ 438150 w 1343026"/>
                <a:gd name="connsiteY10" fmla="*/ 1145393 h 1377950"/>
                <a:gd name="connsiteX11" fmla="*/ 465269 w 1343026"/>
                <a:gd name="connsiteY11" fmla="*/ 1138953 h 1377950"/>
                <a:gd name="connsiteX12" fmla="*/ 468123 w 1343026"/>
                <a:gd name="connsiteY12" fmla="*/ 1138237 h 1377950"/>
                <a:gd name="connsiteX13" fmla="*/ 968375 w 1343026"/>
                <a:gd name="connsiteY13" fmla="*/ 906462 h 1377950"/>
                <a:gd name="connsiteX14" fmla="*/ 935904 w 1343026"/>
                <a:gd name="connsiteY14" fmla="*/ 1054100 h 1377950"/>
                <a:gd name="connsiteX15" fmla="*/ 933739 w 1343026"/>
                <a:gd name="connsiteY15" fmla="*/ 1053387 h 1377950"/>
                <a:gd name="connsiteX16" fmla="*/ 904875 w 1343026"/>
                <a:gd name="connsiteY16" fmla="*/ 1047681 h 1377950"/>
                <a:gd name="connsiteX17" fmla="*/ 931574 w 1343026"/>
                <a:gd name="connsiteY17" fmla="*/ 930712 h 1377950"/>
                <a:gd name="connsiteX18" fmla="*/ 956830 w 1343026"/>
                <a:gd name="connsiteY18" fmla="*/ 914307 h 1377950"/>
                <a:gd name="connsiteX19" fmla="*/ 957551 w 1343026"/>
                <a:gd name="connsiteY19" fmla="*/ 913594 h 1377950"/>
                <a:gd name="connsiteX20" fmla="*/ 958273 w 1343026"/>
                <a:gd name="connsiteY20" fmla="*/ 913594 h 1377950"/>
                <a:gd name="connsiteX21" fmla="*/ 968375 w 1343026"/>
                <a:gd name="connsiteY21" fmla="*/ 906462 h 1377950"/>
                <a:gd name="connsiteX22" fmla="*/ 376238 w 1343026"/>
                <a:gd name="connsiteY22" fmla="*/ 904875 h 1377950"/>
                <a:gd name="connsiteX23" fmla="*/ 388198 w 1343026"/>
                <a:gd name="connsiteY23" fmla="*/ 914157 h 1377950"/>
                <a:gd name="connsiteX24" fmla="*/ 388902 w 1343026"/>
                <a:gd name="connsiteY24" fmla="*/ 914157 h 1377950"/>
                <a:gd name="connsiteX25" fmla="*/ 411416 w 1343026"/>
                <a:gd name="connsiteY25" fmla="*/ 929865 h 1377950"/>
                <a:gd name="connsiteX26" fmla="*/ 438151 w 1343026"/>
                <a:gd name="connsiteY26" fmla="*/ 1047674 h 1377950"/>
                <a:gd name="connsiteX27" fmla="*/ 411416 w 1343026"/>
                <a:gd name="connsiteY27" fmla="*/ 1053386 h 1377950"/>
                <a:gd name="connsiteX28" fmla="*/ 407898 w 1343026"/>
                <a:gd name="connsiteY28" fmla="*/ 1054100 h 1377950"/>
                <a:gd name="connsiteX29" fmla="*/ 376238 w 1343026"/>
                <a:gd name="connsiteY29" fmla="*/ 904875 h 1377950"/>
                <a:gd name="connsiteX30" fmla="*/ 1257300 w 1343026"/>
                <a:gd name="connsiteY30" fmla="*/ 803275 h 1377950"/>
                <a:gd name="connsiteX31" fmla="*/ 1203325 w 1343026"/>
                <a:gd name="connsiteY31" fmla="*/ 856457 h 1377950"/>
                <a:gd name="connsiteX32" fmla="*/ 1257300 w 1343026"/>
                <a:gd name="connsiteY32" fmla="*/ 909639 h 1377950"/>
                <a:gd name="connsiteX33" fmla="*/ 1311275 w 1343026"/>
                <a:gd name="connsiteY33" fmla="*/ 856457 h 1377950"/>
                <a:gd name="connsiteX34" fmla="*/ 1257300 w 1343026"/>
                <a:gd name="connsiteY34" fmla="*/ 803275 h 1377950"/>
                <a:gd name="connsiteX35" fmla="*/ 85725 w 1343026"/>
                <a:gd name="connsiteY35" fmla="*/ 803275 h 1377950"/>
                <a:gd name="connsiteX36" fmla="*/ 31750 w 1343026"/>
                <a:gd name="connsiteY36" fmla="*/ 856457 h 1377950"/>
                <a:gd name="connsiteX37" fmla="*/ 85725 w 1343026"/>
                <a:gd name="connsiteY37" fmla="*/ 909639 h 1377950"/>
                <a:gd name="connsiteX38" fmla="*/ 139700 w 1343026"/>
                <a:gd name="connsiteY38" fmla="*/ 856457 h 1377950"/>
                <a:gd name="connsiteX39" fmla="*/ 85725 w 1343026"/>
                <a:gd name="connsiteY39" fmla="*/ 803275 h 1377950"/>
                <a:gd name="connsiteX40" fmla="*/ 1257739 w 1343026"/>
                <a:gd name="connsiteY40" fmla="*/ 773112 h 1377950"/>
                <a:gd name="connsiteX41" fmla="*/ 1343026 w 1343026"/>
                <a:gd name="connsiteY41" fmla="*/ 857605 h 1377950"/>
                <a:gd name="connsiteX42" fmla="*/ 1319572 w 1343026"/>
                <a:gd name="connsiteY42" fmla="*/ 915116 h 1377950"/>
                <a:gd name="connsiteX43" fmla="*/ 1304647 w 1343026"/>
                <a:gd name="connsiteY43" fmla="*/ 927187 h 1377950"/>
                <a:gd name="connsiteX44" fmla="*/ 1289011 w 1343026"/>
                <a:gd name="connsiteY44" fmla="*/ 935707 h 1377950"/>
                <a:gd name="connsiteX45" fmla="*/ 1261293 w 1343026"/>
                <a:gd name="connsiteY45" fmla="*/ 941387 h 1377950"/>
                <a:gd name="connsiteX46" fmla="*/ 1257739 w 1343026"/>
                <a:gd name="connsiteY46" fmla="*/ 941387 h 1377950"/>
                <a:gd name="connsiteX47" fmla="*/ 1242814 w 1343026"/>
                <a:gd name="connsiteY47" fmla="*/ 939967 h 1377950"/>
                <a:gd name="connsiteX48" fmla="*/ 1227178 w 1343026"/>
                <a:gd name="connsiteY48" fmla="*/ 935707 h 1377950"/>
                <a:gd name="connsiteX49" fmla="*/ 1173163 w 1343026"/>
                <a:gd name="connsiteY49" fmla="*/ 857605 h 1377950"/>
                <a:gd name="connsiteX50" fmla="*/ 1257739 w 1343026"/>
                <a:gd name="connsiteY50" fmla="*/ 773112 h 1377950"/>
                <a:gd name="connsiteX51" fmla="*/ 86084 w 1343026"/>
                <a:gd name="connsiteY51" fmla="*/ 773112 h 1377950"/>
                <a:gd name="connsiteX52" fmla="*/ 171450 w 1343026"/>
                <a:gd name="connsiteY52" fmla="*/ 857605 h 1377950"/>
                <a:gd name="connsiteX53" fmla="*/ 119083 w 1343026"/>
                <a:gd name="connsiteY53" fmla="*/ 934997 h 1377950"/>
                <a:gd name="connsiteX54" fmla="*/ 102583 w 1343026"/>
                <a:gd name="connsiteY54" fmla="*/ 939967 h 1377950"/>
                <a:gd name="connsiteX55" fmla="*/ 86084 w 1343026"/>
                <a:gd name="connsiteY55" fmla="*/ 941387 h 1377950"/>
                <a:gd name="connsiteX56" fmla="*/ 85367 w 1343026"/>
                <a:gd name="connsiteY56" fmla="*/ 941387 h 1377950"/>
                <a:gd name="connsiteX57" fmla="*/ 54520 w 1343026"/>
                <a:gd name="connsiteY57" fmla="*/ 935707 h 1377950"/>
                <a:gd name="connsiteX58" fmla="*/ 40173 w 1343026"/>
                <a:gd name="connsiteY58" fmla="*/ 928607 h 1377950"/>
                <a:gd name="connsiteX59" fmla="*/ 25108 w 1343026"/>
                <a:gd name="connsiteY59" fmla="*/ 916536 h 1377950"/>
                <a:gd name="connsiteX60" fmla="*/ 0 w 1343026"/>
                <a:gd name="connsiteY60" fmla="*/ 857605 h 1377950"/>
                <a:gd name="connsiteX61" fmla="*/ 86084 w 1343026"/>
                <a:gd name="connsiteY61" fmla="*/ 773112 h 1377950"/>
                <a:gd name="connsiteX62" fmla="*/ 396160 w 1343026"/>
                <a:gd name="connsiteY62" fmla="*/ 574675 h 1377950"/>
                <a:gd name="connsiteX63" fmla="*/ 391864 w 1343026"/>
                <a:gd name="connsiteY63" fmla="*/ 688975 h 1377950"/>
                <a:gd name="connsiteX64" fmla="*/ 396876 w 1343026"/>
                <a:gd name="connsiteY64" fmla="*/ 803275 h 1377950"/>
                <a:gd name="connsiteX65" fmla="*/ 386137 w 1343026"/>
                <a:gd name="connsiteY65" fmla="*/ 796131 h 1377950"/>
                <a:gd name="connsiteX66" fmla="*/ 363227 w 1343026"/>
                <a:gd name="connsiteY66" fmla="*/ 777557 h 1377950"/>
                <a:gd name="connsiteX67" fmla="*/ 360363 w 1343026"/>
                <a:gd name="connsiteY67" fmla="*/ 688975 h 1377950"/>
                <a:gd name="connsiteX68" fmla="*/ 363227 w 1343026"/>
                <a:gd name="connsiteY68" fmla="*/ 601107 h 1377950"/>
                <a:gd name="connsiteX69" fmla="*/ 386137 w 1343026"/>
                <a:gd name="connsiteY69" fmla="*/ 582533 h 1377950"/>
                <a:gd name="connsiteX70" fmla="*/ 396160 w 1343026"/>
                <a:gd name="connsiteY70" fmla="*/ 574675 h 1377950"/>
                <a:gd name="connsiteX71" fmla="*/ 946150 w 1343026"/>
                <a:gd name="connsiteY71" fmla="*/ 573087 h 1377950"/>
                <a:gd name="connsiteX72" fmla="*/ 958321 w 1343026"/>
                <a:gd name="connsiteY72" fmla="*/ 582386 h 1377950"/>
                <a:gd name="connsiteX73" fmla="*/ 979799 w 1343026"/>
                <a:gd name="connsiteY73" fmla="*/ 599555 h 1377950"/>
                <a:gd name="connsiteX74" fmla="*/ 982663 w 1343026"/>
                <a:gd name="connsiteY74" fmla="*/ 688974 h 1377950"/>
                <a:gd name="connsiteX75" fmla="*/ 979799 w 1343026"/>
                <a:gd name="connsiteY75" fmla="*/ 779109 h 1377950"/>
                <a:gd name="connsiteX76" fmla="*/ 958321 w 1343026"/>
                <a:gd name="connsiteY76" fmla="*/ 796278 h 1377950"/>
                <a:gd name="connsiteX77" fmla="*/ 946150 w 1343026"/>
                <a:gd name="connsiteY77" fmla="*/ 804862 h 1377950"/>
                <a:gd name="connsiteX78" fmla="*/ 951162 w 1343026"/>
                <a:gd name="connsiteY78" fmla="*/ 688974 h 1377950"/>
                <a:gd name="connsiteX79" fmla="*/ 946150 w 1343026"/>
                <a:gd name="connsiteY79" fmla="*/ 573087 h 1377950"/>
                <a:gd name="connsiteX80" fmla="*/ 673102 w 1343026"/>
                <a:gd name="connsiteY80" fmla="*/ 373063 h 1377950"/>
                <a:gd name="connsiteX81" fmla="*/ 533109 w 1343026"/>
                <a:gd name="connsiteY81" fmla="*/ 444519 h 1377950"/>
                <a:gd name="connsiteX82" fmla="*/ 401687 w 1343026"/>
                <a:gd name="connsiteY82" fmla="*/ 530265 h 1377950"/>
                <a:gd name="connsiteX83" fmla="*/ 400259 w 1343026"/>
                <a:gd name="connsiteY83" fmla="*/ 530980 h 1377950"/>
                <a:gd name="connsiteX84" fmla="*/ 367403 w 1343026"/>
                <a:gd name="connsiteY84" fmla="*/ 555989 h 1377950"/>
                <a:gd name="connsiteX85" fmla="*/ 365975 w 1343026"/>
                <a:gd name="connsiteY85" fmla="*/ 556704 h 1377950"/>
                <a:gd name="connsiteX86" fmla="*/ 223839 w 1343026"/>
                <a:gd name="connsiteY86" fmla="*/ 688182 h 1377950"/>
                <a:gd name="connsiteX87" fmla="*/ 365975 w 1343026"/>
                <a:gd name="connsiteY87" fmla="*/ 818946 h 1377950"/>
                <a:gd name="connsiteX88" fmla="*/ 367403 w 1343026"/>
                <a:gd name="connsiteY88" fmla="*/ 820375 h 1377950"/>
                <a:gd name="connsiteX89" fmla="*/ 400259 w 1343026"/>
                <a:gd name="connsiteY89" fmla="*/ 845384 h 1377950"/>
                <a:gd name="connsiteX90" fmla="*/ 401687 w 1343026"/>
                <a:gd name="connsiteY90" fmla="*/ 846099 h 1377950"/>
                <a:gd name="connsiteX91" fmla="*/ 533109 w 1343026"/>
                <a:gd name="connsiteY91" fmla="*/ 931846 h 1377950"/>
                <a:gd name="connsiteX92" fmla="*/ 673102 w 1343026"/>
                <a:gd name="connsiteY92" fmla="*/ 1003301 h 1377950"/>
                <a:gd name="connsiteX93" fmla="*/ 813094 w 1343026"/>
                <a:gd name="connsiteY93" fmla="*/ 931846 h 1377950"/>
                <a:gd name="connsiteX94" fmla="*/ 945231 w 1343026"/>
                <a:gd name="connsiteY94" fmla="*/ 846099 h 1377950"/>
                <a:gd name="connsiteX95" fmla="*/ 979514 w 1343026"/>
                <a:gd name="connsiteY95" fmla="*/ 820375 h 1377950"/>
                <a:gd name="connsiteX96" fmla="*/ 1122364 w 1343026"/>
                <a:gd name="connsiteY96" fmla="*/ 688182 h 1377950"/>
                <a:gd name="connsiteX97" fmla="*/ 979514 w 1343026"/>
                <a:gd name="connsiteY97" fmla="*/ 555989 h 1377950"/>
                <a:gd name="connsiteX98" fmla="*/ 978800 w 1343026"/>
                <a:gd name="connsiteY98" fmla="*/ 555275 h 1377950"/>
                <a:gd name="connsiteX99" fmla="*/ 945231 w 1343026"/>
                <a:gd name="connsiteY99" fmla="*/ 530265 h 1377950"/>
                <a:gd name="connsiteX100" fmla="*/ 944516 w 1343026"/>
                <a:gd name="connsiteY100" fmla="*/ 529551 h 1377950"/>
                <a:gd name="connsiteX101" fmla="*/ 813094 w 1343026"/>
                <a:gd name="connsiteY101" fmla="*/ 444519 h 1377950"/>
                <a:gd name="connsiteX102" fmla="*/ 673102 w 1343026"/>
                <a:gd name="connsiteY102" fmla="*/ 373063 h 1377950"/>
                <a:gd name="connsiteX103" fmla="*/ 936625 w 1343026"/>
                <a:gd name="connsiteY103" fmla="*/ 322262 h 1377950"/>
                <a:gd name="connsiteX104" fmla="*/ 968375 w 1343026"/>
                <a:gd name="connsiteY104" fmla="*/ 471487 h 1377950"/>
                <a:gd name="connsiteX105" fmla="*/ 957551 w 1343026"/>
                <a:gd name="connsiteY105" fmla="*/ 464347 h 1377950"/>
                <a:gd name="connsiteX106" fmla="*/ 956830 w 1343026"/>
                <a:gd name="connsiteY106" fmla="*/ 463633 h 1377950"/>
                <a:gd name="connsiteX107" fmla="*/ 932296 w 1343026"/>
                <a:gd name="connsiteY107" fmla="*/ 447211 h 1377950"/>
                <a:gd name="connsiteX108" fmla="*/ 904875 w 1343026"/>
                <a:gd name="connsiteY108" fmla="*/ 328688 h 1377950"/>
                <a:gd name="connsiteX109" fmla="*/ 933739 w 1343026"/>
                <a:gd name="connsiteY109" fmla="*/ 322976 h 1377950"/>
                <a:gd name="connsiteX110" fmla="*/ 936625 w 1343026"/>
                <a:gd name="connsiteY110" fmla="*/ 322262 h 1377950"/>
                <a:gd name="connsiteX111" fmla="*/ 407194 w 1343026"/>
                <a:gd name="connsiteY111" fmla="*/ 322262 h 1377950"/>
                <a:gd name="connsiteX112" fmla="*/ 411416 w 1343026"/>
                <a:gd name="connsiteY112" fmla="*/ 322977 h 1377950"/>
                <a:gd name="connsiteX113" fmla="*/ 438151 w 1343026"/>
                <a:gd name="connsiteY113" fmla="*/ 328695 h 1377950"/>
                <a:gd name="connsiteX114" fmla="*/ 411416 w 1343026"/>
                <a:gd name="connsiteY114" fmla="*/ 448773 h 1377950"/>
                <a:gd name="connsiteX115" fmla="*/ 388902 w 1343026"/>
                <a:gd name="connsiteY115" fmla="*/ 463783 h 1377950"/>
                <a:gd name="connsiteX116" fmla="*/ 388198 w 1343026"/>
                <a:gd name="connsiteY116" fmla="*/ 464498 h 1377950"/>
                <a:gd name="connsiteX117" fmla="*/ 376238 w 1343026"/>
                <a:gd name="connsiteY117" fmla="*/ 473075 h 1377950"/>
                <a:gd name="connsiteX118" fmla="*/ 407194 w 1343026"/>
                <a:gd name="connsiteY118" fmla="*/ 322262 h 1377950"/>
                <a:gd name="connsiteX119" fmla="*/ 1045377 w 1343026"/>
                <a:gd name="connsiteY119" fmla="*/ 280988 h 1377950"/>
                <a:gd name="connsiteX120" fmla="*/ 928022 w 1343026"/>
                <a:gd name="connsiteY120" fmla="*/ 292392 h 1377950"/>
                <a:gd name="connsiteX121" fmla="*/ 927307 w 1343026"/>
                <a:gd name="connsiteY121" fmla="*/ 292392 h 1377950"/>
                <a:gd name="connsiteX122" fmla="*/ 897253 w 1343026"/>
                <a:gd name="connsiteY122" fmla="*/ 298807 h 1377950"/>
                <a:gd name="connsiteX123" fmla="*/ 896537 w 1343026"/>
                <a:gd name="connsiteY123" fmla="*/ 298807 h 1377950"/>
                <a:gd name="connsiteX124" fmla="*/ 711202 w 1343026"/>
                <a:gd name="connsiteY124" fmla="*/ 357966 h 1377950"/>
                <a:gd name="connsiteX125" fmla="*/ 827842 w 1343026"/>
                <a:gd name="connsiteY125" fmla="*/ 418550 h 1377950"/>
                <a:gd name="connsiteX126" fmla="*/ 939472 w 1343026"/>
                <a:gd name="connsiteY126" fmla="*/ 489113 h 1377950"/>
                <a:gd name="connsiteX127" fmla="*/ 974535 w 1343026"/>
                <a:gd name="connsiteY127" fmla="*/ 514772 h 1377950"/>
                <a:gd name="connsiteX128" fmla="*/ 1142696 w 1343026"/>
                <a:gd name="connsiteY128" fmla="*/ 665163 h 1377950"/>
                <a:gd name="connsiteX129" fmla="*/ 1176328 w 1343026"/>
                <a:gd name="connsiteY129" fmla="*/ 623111 h 1377950"/>
                <a:gd name="connsiteX130" fmla="*/ 1241446 w 1343026"/>
                <a:gd name="connsiteY130" fmla="*/ 360104 h 1377950"/>
                <a:gd name="connsiteX131" fmla="*/ 1141980 w 1343026"/>
                <a:gd name="connsiteY131" fmla="*/ 292392 h 1377950"/>
                <a:gd name="connsiteX132" fmla="*/ 1045377 w 1343026"/>
                <a:gd name="connsiteY132" fmla="*/ 280988 h 1377950"/>
                <a:gd name="connsiteX133" fmla="*/ 300177 w 1343026"/>
                <a:gd name="connsiteY133" fmla="*/ 280988 h 1377950"/>
                <a:gd name="connsiteX134" fmla="*/ 203844 w 1343026"/>
                <a:gd name="connsiteY134" fmla="*/ 292392 h 1377950"/>
                <a:gd name="connsiteX135" fmla="*/ 104657 w 1343026"/>
                <a:gd name="connsiteY135" fmla="*/ 360104 h 1377950"/>
                <a:gd name="connsiteX136" fmla="*/ 169593 w 1343026"/>
                <a:gd name="connsiteY136" fmla="*/ 623111 h 1377950"/>
                <a:gd name="connsiteX137" fmla="*/ 203131 w 1343026"/>
                <a:gd name="connsiteY137" fmla="*/ 665163 h 1377950"/>
                <a:gd name="connsiteX138" fmla="*/ 371534 w 1343026"/>
                <a:gd name="connsiteY138" fmla="*/ 514772 h 1377950"/>
                <a:gd name="connsiteX139" fmla="*/ 406499 w 1343026"/>
                <a:gd name="connsiteY139" fmla="*/ 489113 h 1377950"/>
                <a:gd name="connsiteX140" fmla="*/ 517103 w 1343026"/>
                <a:gd name="connsiteY140" fmla="*/ 418550 h 1377950"/>
                <a:gd name="connsiteX141" fmla="*/ 633415 w 1343026"/>
                <a:gd name="connsiteY141" fmla="*/ 357966 h 1377950"/>
                <a:gd name="connsiteX142" fmla="*/ 447886 w 1343026"/>
                <a:gd name="connsiteY142" fmla="*/ 298807 h 1377950"/>
                <a:gd name="connsiteX143" fmla="*/ 447173 w 1343026"/>
                <a:gd name="connsiteY143" fmla="*/ 298807 h 1377950"/>
                <a:gd name="connsiteX144" fmla="*/ 417916 w 1343026"/>
                <a:gd name="connsiteY144" fmla="*/ 292392 h 1377950"/>
                <a:gd name="connsiteX145" fmla="*/ 416489 w 1343026"/>
                <a:gd name="connsiteY145" fmla="*/ 292392 h 1377950"/>
                <a:gd name="connsiteX146" fmla="*/ 300177 w 1343026"/>
                <a:gd name="connsiteY146" fmla="*/ 280988 h 1377950"/>
                <a:gd name="connsiteX147" fmla="*/ 1046113 w 1343026"/>
                <a:gd name="connsiteY147" fmla="*/ 249238 h 1377950"/>
                <a:gd name="connsiteX148" fmla="*/ 1149749 w 1343026"/>
                <a:gd name="connsiteY148" fmla="*/ 262098 h 1377950"/>
                <a:gd name="connsiteX149" fmla="*/ 1268394 w 1343026"/>
                <a:gd name="connsiteY149" fmla="*/ 344259 h 1377950"/>
                <a:gd name="connsiteX150" fmla="*/ 1201210 w 1343026"/>
                <a:gd name="connsiteY150" fmla="*/ 642180 h 1377950"/>
                <a:gd name="connsiteX151" fmla="*/ 974640 w 1343026"/>
                <a:gd name="connsiteY151" fmla="*/ 863656 h 1377950"/>
                <a:gd name="connsiteX152" fmla="*/ 973925 w 1343026"/>
                <a:gd name="connsiteY152" fmla="*/ 863656 h 1377950"/>
                <a:gd name="connsiteX153" fmla="*/ 939618 w 1343026"/>
                <a:gd name="connsiteY153" fmla="*/ 889376 h 1377950"/>
                <a:gd name="connsiteX154" fmla="*/ 938904 w 1343026"/>
                <a:gd name="connsiteY154" fmla="*/ 889376 h 1377950"/>
                <a:gd name="connsiteX155" fmla="*/ 828120 w 1343026"/>
                <a:gd name="connsiteY155" fmla="*/ 960105 h 1377950"/>
                <a:gd name="connsiteX156" fmla="*/ 711619 w 1343026"/>
                <a:gd name="connsiteY156" fmla="*/ 1020833 h 1377950"/>
                <a:gd name="connsiteX157" fmla="*/ 897449 w 1343026"/>
                <a:gd name="connsiteY157" fmla="*/ 1079417 h 1377950"/>
                <a:gd name="connsiteX158" fmla="*/ 928183 w 1343026"/>
                <a:gd name="connsiteY158" fmla="*/ 1085847 h 1377950"/>
                <a:gd name="connsiteX159" fmla="*/ 1044684 w 1343026"/>
                <a:gd name="connsiteY159" fmla="*/ 1097992 h 1377950"/>
                <a:gd name="connsiteX160" fmla="*/ 1141887 w 1343026"/>
                <a:gd name="connsiteY160" fmla="*/ 1085847 h 1377950"/>
                <a:gd name="connsiteX161" fmla="*/ 1241235 w 1343026"/>
                <a:gd name="connsiteY161" fmla="*/ 1018689 h 1377950"/>
                <a:gd name="connsiteX162" fmla="*/ 1256244 w 1343026"/>
                <a:gd name="connsiteY162" fmla="*/ 974394 h 1377950"/>
                <a:gd name="connsiteX163" fmla="*/ 1256959 w 1343026"/>
                <a:gd name="connsiteY163" fmla="*/ 974394 h 1377950"/>
                <a:gd name="connsiteX164" fmla="*/ 1260532 w 1343026"/>
                <a:gd name="connsiteY164" fmla="*/ 974394 h 1377950"/>
                <a:gd name="connsiteX165" fmla="*/ 1288407 w 1343026"/>
                <a:gd name="connsiteY165" fmla="*/ 970108 h 1377950"/>
                <a:gd name="connsiteX166" fmla="*/ 1268394 w 1343026"/>
                <a:gd name="connsiteY166" fmla="*/ 1034407 h 1377950"/>
                <a:gd name="connsiteX167" fmla="*/ 1149749 w 1343026"/>
                <a:gd name="connsiteY167" fmla="*/ 1116568 h 1377950"/>
                <a:gd name="connsiteX168" fmla="*/ 1046828 w 1343026"/>
                <a:gd name="connsiteY168" fmla="*/ 1128713 h 1377950"/>
                <a:gd name="connsiteX169" fmla="*/ 918176 w 1343026"/>
                <a:gd name="connsiteY169" fmla="*/ 1115853 h 1377950"/>
                <a:gd name="connsiteX170" fmla="*/ 917462 w 1343026"/>
                <a:gd name="connsiteY170" fmla="*/ 1115853 h 1377950"/>
                <a:gd name="connsiteX171" fmla="*/ 887443 w 1343026"/>
                <a:gd name="connsiteY171" fmla="*/ 1109423 h 1377950"/>
                <a:gd name="connsiteX172" fmla="*/ 886728 w 1343026"/>
                <a:gd name="connsiteY172" fmla="*/ 1109423 h 1377950"/>
                <a:gd name="connsiteX173" fmla="*/ 672309 w 1343026"/>
                <a:gd name="connsiteY173" fmla="*/ 1038694 h 1377950"/>
                <a:gd name="connsiteX174" fmla="*/ 457175 w 1343026"/>
                <a:gd name="connsiteY174" fmla="*/ 1109423 h 1377950"/>
                <a:gd name="connsiteX175" fmla="*/ 457175 w 1343026"/>
                <a:gd name="connsiteY175" fmla="*/ 1110138 h 1377950"/>
                <a:gd name="connsiteX176" fmla="*/ 427157 w 1343026"/>
                <a:gd name="connsiteY176" fmla="*/ 1115853 h 1377950"/>
                <a:gd name="connsiteX177" fmla="*/ 426442 w 1343026"/>
                <a:gd name="connsiteY177" fmla="*/ 1116568 h 1377950"/>
                <a:gd name="connsiteX178" fmla="*/ 297790 w 1343026"/>
                <a:gd name="connsiteY178" fmla="*/ 1128713 h 1377950"/>
                <a:gd name="connsiteX179" fmla="*/ 194869 w 1343026"/>
                <a:gd name="connsiteY179" fmla="*/ 1116568 h 1377950"/>
                <a:gd name="connsiteX180" fmla="*/ 76224 w 1343026"/>
                <a:gd name="connsiteY180" fmla="*/ 1034407 h 1377950"/>
                <a:gd name="connsiteX181" fmla="*/ 56212 w 1343026"/>
                <a:gd name="connsiteY181" fmla="*/ 970108 h 1377950"/>
                <a:gd name="connsiteX182" fmla="*/ 85516 w 1343026"/>
                <a:gd name="connsiteY182" fmla="*/ 974394 h 1377950"/>
                <a:gd name="connsiteX183" fmla="*/ 86230 w 1343026"/>
                <a:gd name="connsiteY183" fmla="*/ 974394 h 1377950"/>
                <a:gd name="connsiteX184" fmla="*/ 88374 w 1343026"/>
                <a:gd name="connsiteY184" fmla="*/ 974394 h 1377950"/>
                <a:gd name="connsiteX185" fmla="*/ 103384 w 1343026"/>
                <a:gd name="connsiteY185" fmla="*/ 1018689 h 1377950"/>
                <a:gd name="connsiteX186" fmla="*/ 202731 w 1343026"/>
                <a:gd name="connsiteY186" fmla="*/ 1085847 h 1377950"/>
                <a:gd name="connsiteX187" fmla="*/ 299220 w 1343026"/>
                <a:gd name="connsiteY187" fmla="*/ 1097992 h 1377950"/>
                <a:gd name="connsiteX188" fmla="*/ 417150 w 1343026"/>
                <a:gd name="connsiteY188" fmla="*/ 1085847 h 1377950"/>
                <a:gd name="connsiteX189" fmla="*/ 447169 w 1343026"/>
                <a:gd name="connsiteY189" fmla="*/ 1079417 h 1377950"/>
                <a:gd name="connsiteX190" fmla="*/ 632999 w 1343026"/>
                <a:gd name="connsiteY190" fmla="*/ 1020833 h 1377950"/>
                <a:gd name="connsiteX191" fmla="*/ 516498 w 1343026"/>
                <a:gd name="connsiteY191" fmla="*/ 960105 h 1377950"/>
                <a:gd name="connsiteX192" fmla="*/ 405715 w 1343026"/>
                <a:gd name="connsiteY192" fmla="*/ 889376 h 1377950"/>
                <a:gd name="connsiteX193" fmla="*/ 370693 w 1343026"/>
                <a:gd name="connsiteY193" fmla="*/ 863656 h 1377950"/>
                <a:gd name="connsiteX194" fmla="*/ 202017 w 1343026"/>
                <a:gd name="connsiteY194" fmla="*/ 712909 h 1377950"/>
                <a:gd name="connsiteX195" fmla="*/ 201302 w 1343026"/>
                <a:gd name="connsiteY195" fmla="*/ 712909 h 1377950"/>
                <a:gd name="connsiteX196" fmla="*/ 181289 w 1343026"/>
                <a:gd name="connsiteY196" fmla="*/ 689333 h 1377950"/>
                <a:gd name="connsiteX197" fmla="*/ 180575 w 1343026"/>
                <a:gd name="connsiteY197" fmla="*/ 689333 h 1377950"/>
                <a:gd name="connsiteX198" fmla="*/ 143409 w 1343026"/>
                <a:gd name="connsiteY198" fmla="*/ 642180 h 1377950"/>
                <a:gd name="connsiteX199" fmla="*/ 76224 w 1343026"/>
                <a:gd name="connsiteY199" fmla="*/ 344259 h 1377950"/>
                <a:gd name="connsiteX200" fmla="*/ 194869 w 1343026"/>
                <a:gd name="connsiteY200" fmla="*/ 262098 h 1377950"/>
                <a:gd name="connsiteX201" fmla="*/ 298505 w 1343026"/>
                <a:gd name="connsiteY201" fmla="*/ 249953 h 1377950"/>
                <a:gd name="connsiteX202" fmla="*/ 672309 w 1343026"/>
                <a:gd name="connsiteY202" fmla="*/ 339972 h 1377950"/>
                <a:gd name="connsiteX203" fmla="*/ 887443 w 1343026"/>
                <a:gd name="connsiteY203" fmla="*/ 269242 h 1377950"/>
                <a:gd name="connsiteX204" fmla="*/ 918176 w 1343026"/>
                <a:gd name="connsiteY204" fmla="*/ 262812 h 1377950"/>
                <a:gd name="connsiteX205" fmla="*/ 1046113 w 1343026"/>
                <a:gd name="connsiteY205" fmla="*/ 249238 h 1377950"/>
                <a:gd name="connsiteX206" fmla="*/ 518757 w 1343026"/>
                <a:gd name="connsiteY206" fmla="*/ 44451 h 1377950"/>
                <a:gd name="connsiteX207" fmla="*/ 466726 w 1343026"/>
                <a:gd name="connsiteY207" fmla="*/ 98064 h 1377950"/>
                <a:gd name="connsiteX208" fmla="*/ 518757 w 1343026"/>
                <a:gd name="connsiteY208" fmla="*/ 152401 h 1377950"/>
                <a:gd name="connsiteX209" fmla="*/ 571501 w 1343026"/>
                <a:gd name="connsiteY209" fmla="*/ 98064 h 1377950"/>
                <a:gd name="connsiteX210" fmla="*/ 518757 w 1343026"/>
                <a:gd name="connsiteY210" fmla="*/ 44451 h 1377950"/>
                <a:gd name="connsiteX211" fmla="*/ 518756 w 1343026"/>
                <a:gd name="connsiteY211" fmla="*/ 14288 h 1377950"/>
                <a:gd name="connsiteX212" fmla="*/ 572460 w 1343026"/>
                <a:gd name="connsiteY212" fmla="*/ 33459 h 1377950"/>
                <a:gd name="connsiteX213" fmla="*/ 573177 w 1343026"/>
                <a:gd name="connsiteY213" fmla="*/ 34169 h 1377950"/>
                <a:gd name="connsiteX214" fmla="*/ 593226 w 1343026"/>
                <a:gd name="connsiteY214" fmla="*/ 57599 h 1377950"/>
                <a:gd name="connsiteX215" fmla="*/ 593226 w 1343026"/>
                <a:gd name="connsiteY215" fmla="*/ 58309 h 1377950"/>
                <a:gd name="connsiteX216" fmla="*/ 603251 w 1343026"/>
                <a:gd name="connsiteY216" fmla="*/ 98071 h 1377950"/>
                <a:gd name="connsiteX217" fmla="*/ 518756 w 1343026"/>
                <a:gd name="connsiteY217" fmla="*/ 182563 h 1377950"/>
                <a:gd name="connsiteX218" fmla="*/ 434976 w 1343026"/>
                <a:gd name="connsiteY218" fmla="*/ 98071 h 1377950"/>
                <a:gd name="connsiteX219" fmla="*/ 518756 w 1343026"/>
                <a:gd name="connsiteY219" fmla="*/ 14288 h 1377950"/>
                <a:gd name="connsiteX220" fmla="*/ 672368 w 1343026"/>
                <a:gd name="connsiteY220" fmla="*/ 0 h 1377950"/>
                <a:gd name="connsiteX221" fmla="*/ 896624 w 1343026"/>
                <a:gd name="connsiteY221" fmla="*/ 206081 h 1377950"/>
                <a:gd name="connsiteX222" fmla="*/ 908051 w 1343026"/>
                <a:gd name="connsiteY222" fmla="*/ 233273 h 1377950"/>
                <a:gd name="connsiteX223" fmla="*/ 880912 w 1343026"/>
                <a:gd name="connsiteY223" fmla="*/ 238997 h 1377950"/>
                <a:gd name="connsiteX224" fmla="*/ 876627 w 1343026"/>
                <a:gd name="connsiteY224" fmla="*/ 239713 h 1377950"/>
                <a:gd name="connsiteX225" fmla="*/ 867342 w 1343026"/>
                <a:gd name="connsiteY225" fmla="*/ 218246 h 1377950"/>
                <a:gd name="connsiteX226" fmla="*/ 672368 w 1343026"/>
                <a:gd name="connsiteY226" fmla="*/ 31485 h 1377950"/>
                <a:gd name="connsiteX227" fmla="*/ 620946 w 1343026"/>
                <a:gd name="connsiteY227" fmla="*/ 42934 h 1377950"/>
                <a:gd name="connsiteX228" fmla="*/ 601663 w 1343026"/>
                <a:gd name="connsiteY228" fmla="*/ 17173 h 1377950"/>
                <a:gd name="connsiteX229" fmla="*/ 672368 w 1343026"/>
                <a:gd name="connsiteY229" fmla="*/ 0 h 137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343026" h="1377950">
                  <a:moveTo>
                    <a:pt x="468123" y="1138237"/>
                  </a:moveTo>
                  <a:cubicBezTo>
                    <a:pt x="470978" y="1145393"/>
                    <a:pt x="473833" y="1151833"/>
                    <a:pt x="476687" y="1158988"/>
                  </a:cubicBezTo>
                  <a:cubicBezTo>
                    <a:pt x="530211" y="1279203"/>
                    <a:pt x="599434" y="1346465"/>
                    <a:pt x="671513" y="1346465"/>
                  </a:cubicBezTo>
                  <a:cubicBezTo>
                    <a:pt x="743591" y="1346465"/>
                    <a:pt x="812815" y="1279203"/>
                    <a:pt x="866338" y="1158988"/>
                  </a:cubicBezTo>
                  <a:cubicBezTo>
                    <a:pt x="869193" y="1151833"/>
                    <a:pt x="872047" y="1144677"/>
                    <a:pt x="874902" y="1138237"/>
                  </a:cubicBezTo>
                  <a:cubicBezTo>
                    <a:pt x="876329" y="1138237"/>
                    <a:pt x="877757" y="1138953"/>
                    <a:pt x="879184" y="1138953"/>
                  </a:cubicBezTo>
                  <a:cubicBezTo>
                    <a:pt x="888461" y="1141815"/>
                    <a:pt x="896311" y="1143246"/>
                    <a:pt x="904875" y="1144677"/>
                  </a:cubicBezTo>
                  <a:cubicBezTo>
                    <a:pt x="901307" y="1153979"/>
                    <a:pt x="897739" y="1162566"/>
                    <a:pt x="894171" y="1171153"/>
                  </a:cubicBezTo>
                  <a:cubicBezTo>
                    <a:pt x="836365" y="1304247"/>
                    <a:pt x="757150" y="1377950"/>
                    <a:pt x="671513" y="1377950"/>
                  </a:cubicBezTo>
                  <a:cubicBezTo>
                    <a:pt x="585875" y="1377950"/>
                    <a:pt x="506660" y="1304247"/>
                    <a:pt x="448855" y="1171153"/>
                  </a:cubicBezTo>
                  <a:cubicBezTo>
                    <a:pt x="445287" y="1162566"/>
                    <a:pt x="441718" y="1153979"/>
                    <a:pt x="438150" y="1145393"/>
                  </a:cubicBezTo>
                  <a:cubicBezTo>
                    <a:pt x="446714" y="1143962"/>
                    <a:pt x="455278" y="1141815"/>
                    <a:pt x="465269" y="1138953"/>
                  </a:cubicBezTo>
                  <a:cubicBezTo>
                    <a:pt x="465982" y="1138953"/>
                    <a:pt x="467410" y="1138953"/>
                    <a:pt x="468123" y="1138237"/>
                  </a:cubicBezTo>
                  <a:close/>
                  <a:moveTo>
                    <a:pt x="968375" y="906462"/>
                  </a:moveTo>
                  <a:cubicBezTo>
                    <a:pt x="960438" y="958527"/>
                    <a:pt x="949614" y="1007027"/>
                    <a:pt x="935904" y="1054100"/>
                  </a:cubicBezTo>
                  <a:cubicBezTo>
                    <a:pt x="935182" y="1054100"/>
                    <a:pt x="934460" y="1054100"/>
                    <a:pt x="933739" y="1053387"/>
                  </a:cubicBezTo>
                  <a:cubicBezTo>
                    <a:pt x="924358" y="1051960"/>
                    <a:pt x="914978" y="1049821"/>
                    <a:pt x="904875" y="1047681"/>
                  </a:cubicBezTo>
                  <a:cubicBezTo>
                    <a:pt x="915699" y="1010593"/>
                    <a:pt x="925080" y="972079"/>
                    <a:pt x="931574" y="930712"/>
                  </a:cubicBezTo>
                  <a:cubicBezTo>
                    <a:pt x="940233" y="925719"/>
                    <a:pt x="948892" y="920013"/>
                    <a:pt x="956830" y="914307"/>
                  </a:cubicBezTo>
                  <a:cubicBezTo>
                    <a:pt x="956830" y="914307"/>
                    <a:pt x="956830" y="914307"/>
                    <a:pt x="957551" y="913594"/>
                  </a:cubicBezTo>
                  <a:cubicBezTo>
                    <a:pt x="957551" y="913594"/>
                    <a:pt x="957551" y="913594"/>
                    <a:pt x="958273" y="913594"/>
                  </a:cubicBezTo>
                  <a:cubicBezTo>
                    <a:pt x="961159" y="910741"/>
                    <a:pt x="964767" y="908602"/>
                    <a:pt x="968375" y="906462"/>
                  </a:cubicBezTo>
                  <a:close/>
                  <a:moveTo>
                    <a:pt x="376238" y="904875"/>
                  </a:moveTo>
                  <a:cubicBezTo>
                    <a:pt x="380459" y="907731"/>
                    <a:pt x="383977" y="910587"/>
                    <a:pt x="388198" y="914157"/>
                  </a:cubicBezTo>
                  <a:cubicBezTo>
                    <a:pt x="388198" y="914157"/>
                    <a:pt x="388198" y="914157"/>
                    <a:pt x="388902" y="914157"/>
                  </a:cubicBezTo>
                  <a:cubicBezTo>
                    <a:pt x="395937" y="919155"/>
                    <a:pt x="403676" y="924867"/>
                    <a:pt x="411416" y="929865"/>
                  </a:cubicBezTo>
                  <a:cubicBezTo>
                    <a:pt x="418451" y="971276"/>
                    <a:pt x="427597" y="1010546"/>
                    <a:pt x="438151" y="1047674"/>
                  </a:cubicBezTo>
                  <a:cubicBezTo>
                    <a:pt x="429005" y="1049816"/>
                    <a:pt x="419858" y="1051958"/>
                    <a:pt x="411416" y="1053386"/>
                  </a:cubicBezTo>
                  <a:cubicBezTo>
                    <a:pt x="410008" y="1054100"/>
                    <a:pt x="409305" y="1054100"/>
                    <a:pt x="407898" y="1054100"/>
                  </a:cubicBezTo>
                  <a:cubicBezTo>
                    <a:pt x="394530" y="1006976"/>
                    <a:pt x="383977" y="957711"/>
                    <a:pt x="376238" y="904875"/>
                  </a:cubicBezTo>
                  <a:close/>
                  <a:moveTo>
                    <a:pt x="1257300" y="803275"/>
                  </a:moveTo>
                  <a:cubicBezTo>
                    <a:pt x="1227490" y="803275"/>
                    <a:pt x="1203325" y="827085"/>
                    <a:pt x="1203325" y="856457"/>
                  </a:cubicBezTo>
                  <a:cubicBezTo>
                    <a:pt x="1203325" y="885829"/>
                    <a:pt x="1227490" y="909639"/>
                    <a:pt x="1257300" y="909639"/>
                  </a:cubicBezTo>
                  <a:cubicBezTo>
                    <a:pt x="1287110" y="909639"/>
                    <a:pt x="1311275" y="885829"/>
                    <a:pt x="1311275" y="856457"/>
                  </a:cubicBezTo>
                  <a:cubicBezTo>
                    <a:pt x="1311275" y="827085"/>
                    <a:pt x="1287110" y="803275"/>
                    <a:pt x="1257300" y="803275"/>
                  </a:cubicBezTo>
                  <a:close/>
                  <a:moveTo>
                    <a:pt x="85725" y="803275"/>
                  </a:moveTo>
                  <a:cubicBezTo>
                    <a:pt x="55915" y="803275"/>
                    <a:pt x="31750" y="827085"/>
                    <a:pt x="31750" y="856457"/>
                  </a:cubicBezTo>
                  <a:cubicBezTo>
                    <a:pt x="31750" y="885829"/>
                    <a:pt x="55915" y="909639"/>
                    <a:pt x="85725" y="909639"/>
                  </a:cubicBezTo>
                  <a:cubicBezTo>
                    <a:pt x="115535" y="909639"/>
                    <a:pt x="139700" y="885829"/>
                    <a:pt x="139700" y="856457"/>
                  </a:cubicBezTo>
                  <a:cubicBezTo>
                    <a:pt x="139700" y="827085"/>
                    <a:pt x="115535" y="803275"/>
                    <a:pt x="85725" y="803275"/>
                  </a:cubicBezTo>
                  <a:close/>
                  <a:moveTo>
                    <a:pt x="1257739" y="773112"/>
                  </a:moveTo>
                  <a:cubicBezTo>
                    <a:pt x="1305358" y="773112"/>
                    <a:pt x="1343026" y="811453"/>
                    <a:pt x="1343026" y="857605"/>
                  </a:cubicBezTo>
                  <a:cubicBezTo>
                    <a:pt x="1343026" y="880325"/>
                    <a:pt x="1333787" y="900206"/>
                    <a:pt x="1319572" y="915116"/>
                  </a:cubicBezTo>
                  <a:cubicBezTo>
                    <a:pt x="1315308" y="919376"/>
                    <a:pt x="1310333" y="923637"/>
                    <a:pt x="1304647" y="927187"/>
                  </a:cubicBezTo>
                  <a:cubicBezTo>
                    <a:pt x="1298961" y="930737"/>
                    <a:pt x="1293986" y="933577"/>
                    <a:pt x="1289011" y="935707"/>
                  </a:cubicBezTo>
                  <a:cubicBezTo>
                    <a:pt x="1280483" y="939257"/>
                    <a:pt x="1271243" y="941387"/>
                    <a:pt x="1261293" y="941387"/>
                  </a:cubicBezTo>
                  <a:cubicBezTo>
                    <a:pt x="1259872" y="941387"/>
                    <a:pt x="1259161" y="941387"/>
                    <a:pt x="1257739" y="941387"/>
                  </a:cubicBezTo>
                  <a:cubicBezTo>
                    <a:pt x="1252764" y="941387"/>
                    <a:pt x="1247789" y="940677"/>
                    <a:pt x="1242814" y="939967"/>
                  </a:cubicBezTo>
                  <a:cubicBezTo>
                    <a:pt x="1237128" y="939257"/>
                    <a:pt x="1232153" y="937127"/>
                    <a:pt x="1227178" y="935707"/>
                  </a:cubicBezTo>
                  <a:cubicBezTo>
                    <a:pt x="1195906" y="922927"/>
                    <a:pt x="1173163" y="893106"/>
                    <a:pt x="1173163" y="857605"/>
                  </a:cubicBezTo>
                  <a:cubicBezTo>
                    <a:pt x="1173163" y="811453"/>
                    <a:pt x="1211542" y="773112"/>
                    <a:pt x="1257739" y="773112"/>
                  </a:cubicBezTo>
                  <a:close/>
                  <a:moveTo>
                    <a:pt x="86084" y="773112"/>
                  </a:moveTo>
                  <a:cubicBezTo>
                    <a:pt x="133430" y="773112"/>
                    <a:pt x="171450" y="811453"/>
                    <a:pt x="171450" y="857605"/>
                  </a:cubicBezTo>
                  <a:cubicBezTo>
                    <a:pt x="171450" y="893106"/>
                    <a:pt x="149929" y="922217"/>
                    <a:pt x="119083" y="934997"/>
                  </a:cubicBezTo>
                  <a:cubicBezTo>
                    <a:pt x="114061" y="937127"/>
                    <a:pt x="108322" y="938547"/>
                    <a:pt x="102583" y="939967"/>
                  </a:cubicBezTo>
                  <a:cubicBezTo>
                    <a:pt x="97562" y="940677"/>
                    <a:pt x="91823" y="941387"/>
                    <a:pt x="86084" y="941387"/>
                  </a:cubicBezTo>
                  <a:cubicBezTo>
                    <a:pt x="86084" y="941387"/>
                    <a:pt x="86084" y="941387"/>
                    <a:pt x="85367" y="941387"/>
                  </a:cubicBezTo>
                  <a:cubicBezTo>
                    <a:pt x="74606" y="941387"/>
                    <a:pt x="63846" y="939257"/>
                    <a:pt x="54520" y="935707"/>
                  </a:cubicBezTo>
                  <a:cubicBezTo>
                    <a:pt x="50216" y="933577"/>
                    <a:pt x="45194" y="931447"/>
                    <a:pt x="40173" y="928607"/>
                  </a:cubicBezTo>
                  <a:cubicBezTo>
                    <a:pt x="34434" y="925057"/>
                    <a:pt x="29412" y="920797"/>
                    <a:pt x="25108" y="916536"/>
                  </a:cubicBezTo>
                  <a:cubicBezTo>
                    <a:pt x="10043" y="901626"/>
                    <a:pt x="0" y="881035"/>
                    <a:pt x="0" y="857605"/>
                  </a:cubicBezTo>
                  <a:cubicBezTo>
                    <a:pt x="0" y="811453"/>
                    <a:pt x="38021" y="773112"/>
                    <a:pt x="86084" y="773112"/>
                  </a:cubicBezTo>
                  <a:close/>
                  <a:moveTo>
                    <a:pt x="396160" y="574675"/>
                  </a:moveTo>
                  <a:cubicBezTo>
                    <a:pt x="393296" y="612537"/>
                    <a:pt x="391864" y="650399"/>
                    <a:pt x="391864" y="688975"/>
                  </a:cubicBezTo>
                  <a:cubicBezTo>
                    <a:pt x="391864" y="726837"/>
                    <a:pt x="393296" y="765413"/>
                    <a:pt x="396876" y="803275"/>
                  </a:cubicBezTo>
                  <a:cubicBezTo>
                    <a:pt x="396876" y="803275"/>
                    <a:pt x="396876" y="803275"/>
                    <a:pt x="386137" y="796131"/>
                  </a:cubicBezTo>
                  <a:cubicBezTo>
                    <a:pt x="378261" y="789702"/>
                    <a:pt x="371102" y="783272"/>
                    <a:pt x="363227" y="777557"/>
                  </a:cubicBezTo>
                  <a:cubicBezTo>
                    <a:pt x="361795" y="748268"/>
                    <a:pt x="360363" y="718979"/>
                    <a:pt x="360363" y="688975"/>
                  </a:cubicBezTo>
                  <a:cubicBezTo>
                    <a:pt x="360363" y="658971"/>
                    <a:pt x="361795" y="629682"/>
                    <a:pt x="363227" y="601107"/>
                  </a:cubicBezTo>
                  <a:cubicBezTo>
                    <a:pt x="371102" y="594677"/>
                    <a:pt x="378261" y="588248"/>
                    <a:pt x="386137" y="582533"/>
                  </a:cubicBezTo>
                  <a:cubicBezTo>
                    <a:pt x="386137" y="582533"/>
                    <a:pt x="386137" y="582533"/>
                    <a:pt x="396160" y="574675"/>
                  </a:cubicBezTo>
                  <a:close/>
                  <a:moveTo>
                    <a:pt x="946150" y="573087"/>
                  </a:moveTo>
                  <a:cubicBezTo>
                    <a:pt x="946150" y="573087"/>
                    <a:pt x="946150" y="573087"/>
                    <a:pt x="958321" y="582386"/>
                  </a:cubicBezTo>
                  <a:cubicBezTo>
                    <a:pt x="965481" y="588109"/>
                    <a:pt x="972640" y="593832"/>
                    <a:pt x="979799" y="599555"/>
                  </a:cubicBezTo>
                  <a:cubicBezTo>
                    <a:pt x="981231" y="628885"/>
                    <a:pt x="982663" y="658929"/>
                    <a:pt x="982663" y="688974"/>
                  </a:cubicBezTo>
                  <a:cubicBezTo>
                    <a:pt x="982663" y="719735"/>
                    <a:pt x="981231" y="749064"/>
                    <a:pt x="979799" y="779109"/>
                  </a:cubicBezTo>
                  <a:cubicBezTo>
                    <a:pt x="972640" y="784832"/>
                    <a:pt x="965481" y="790555"/>
                    <a:pt x="958321" y="796278"/>
                  </a:cubicBezTo>
                  <a:cubicBezTo>
                    <a:pt x="958321" y="796278"/>
                    <a:pt x="958321" y="796278"/>
                    <a:pt x="946150" y="804862"/>
                  </a:cubicBezTo>
                  <a:cubicBezTo>
                    <a:pt x="949730" y="766233"/>
                    <a:pt x="951162" y="728319"/>
                    <a:pt x="951162" y="688974"/>
                  </a:cubicBezTo>
                  <a:cubicBezTo>
                    <a:pt x="951162" y="649630"/>
                    <a:pt x="949730" y="611716"/>
                    <a:pt x="946150" y="573087"/>
                  </a:cubicBezTo>
                  <a:close/>
                  <a:moveTo>
                    <a:pt x="673102" y="373063"/>
                  </a:moveTo>
                  <a:cubicBezTo>
                    <a:pt x="626676" y="393785"/>
                    <a:pt x="579535" y="418080"/>
                    <a:pt x="533109" y="444519"/>
                  </a:cubicBezTo>
                  <a:cubicBezTo>
                    <a:pt x="486683" y="471672"/>
                    <a:pt x="442399" y="500254"/>
                    <a:pt x="401687" y="530265"/>
                  </a:cubicBezTo>
                  <a:cubicBezTo>
                    <a:pt x="400973" y="530265"/>
                    <a:pt x="400973" y="530980"/>
                    <a:pt x="400259" y="530980"/>
                  </a:cubicBezTo>
                  <a:cubicBezTo>
                    <a:pt x="389545" y="539555"/>
                    <a:pt x="378117" y="547415"/>
                    <a:pt x="367403" y="555989"/>
                  </a:cubicBezTo>
                  <a:cubicBezTo>
                    <a:pt x="366689" y="555989"/>
                    <a:pt x="366689" y="556704"/>
                    <a:pt x="365975" y="556704"/>
                  </a:cubicBezTo>
                  <a:cubicBezTo>
                    <a:pt x="312406" y="598863"/>
                    <a:pt x="263837" y="643165"/>
                    <a:pt x="223839" y="688182"/>
                  </a:cubicBezTo>
                  <a:cubicBezTo>
                    <a:pt x="263837" y="732485"/>
                    <a:pt x="312406" y="777502"/>
                    <a:pt x="365975" y="818946"/>
                  </a:cubicBezTo>
                  <a:cubicBezTo>
                    <a:pt x="366689" y="819660"/>
                    <a:pt x="366689" y="819660"/>
                    <a:pt x="367403" y="820375"/>
                  </a:cubicBezTo>
                  <a:cubicBezTo>
                    <a:pt x="378117" y="828235"/>
                    <a:pt x="389545" y="836810"/>
                    <a:pt x="400259" y="845384"/>
                  </a:cubicBezTo>
                  <a:cubicBezTo>
                    <a:pt x="400973" y="845384"/>
                    <a:pt x="400973" y="845384"/>
                    <a:pt x="401687" y="846099"/>
                  </a:cubicBezTo>
                  <a:cubicBezTo>
                    <a:pt x="442399" y="876110"/>
                    <a:pt x="486683" y="904692"/>
                    <a:pt x="533109" y="931846"/>
                  </a:cubicBezTo>
                  <a:cubicBezTo>
                    <a:pt x="579535" y="958284"/>
                    <a:pt x="626676" y="982579"/>
                    <a:pt x="673102" y="1003301"/>
                  </a:cubicBezTo>
                  <a:cubicBezTo>
                    <a:pt x="719528" y="982579"/>
                    <a:pt x="766668" y="958284"/>
                    <a:pt x="813094" y="931846"/>
                  </a:cubicBezTo>
                  <a:cubicBezTo>
                    <a:pt x="859521" y="904692"/>
                    <a:pt x="903804" y="876110"/>
                    <a:pt x="945231" y="846099"/>
                  </a:cubicBezTo>
                  <a:cubicBezTo>
                    <a:pt x="956658" y="837524"/>
                    <a:pt x="968086" y="828950"/>
                    <a:pt x="979514" y="820375"/>
                  </a:cubicBezTo>
                  <a:cubicBezTo>
                    <a:pt x="1033083" y="778216"/>
                    <a:pt x="1081652" y="733199"/>
                    <a:pt x="1122364" y="688182"/>
                  </a:cubicBezTo>
                  <a:cubicBezTo>
                    <a:pt x="1081652" y="643165"/>
                    <a:pt x="1033083" y="598148"/>
                    <a:pt x="979514" y="555989"/>
                  </a:cubicBezTo>
                  <a:cubicBezTo>
                    <a:pt x="978800" y="555989"/>
                    <a:pt x="978800" y="555275"/>
                    <a:pt x="978800" y="555275"/>
                  </a:cubicBezTo>
                  <a:cubicBezTo>
                    <a:pt x="967372" y="546700"/>
                    <a:pt x="955944" y="538840"/>
                    <a:pt x="945231" y="530265"/>
                  </a:cubicBezTo>
                  <a:cubicBezTo>
                    <a:pt x="944516" y="530265"/>
                    <a:pt x="944516" y="529551"/>
                    <a:pt x="944516" y="529551"/>
                  </a:cubicBezTo>
                  <a:cubicBezTo>
                    <a:pt x="903090" y="499539"/>
                    <a:pt x="858806" y="471672"/>
                    <a:pt x="813094" y="444519"/>
                  </a:cubicBezTo>
                  <a:cubicBezTo>
                    <a:pt x="766668" y="418080"/>
                    <a:pt x="719528" y="393785"/>
                    <a:pt x="673102" y="373063"/>
                  </a:cubicBezTo>
                  <a:close/>
                  <a:moveTo>
                    <a:pt x="936625" y="322262"/>
                  </a:moveTo>
                  <a:cubicBezTo>
                    <a:pt x="949614" y="369386"/>
                    <a:pt x="960438" y="419365"/>
                    <a:pt x="968375" y="471487"/>
                  </a:cubicBezTo>
                  <a:cubicBezTo>
                    <a:pt x="964767" y="469345"/>
                    <a:pt x="961159" y="466489"/>
                    <a:pt x="957551" y="464347"/>
                  </a:cubicBezTo>
                  <a:cubicBezTo>
                    <a:pt x="957551" y="464347"/>
                    <a:pt x="957551" y="464347"/>
                    <a:pt x="956830" y="463633"/>
                  </a:cubicBezTo>
                  <a:cubicBezTo>
                    <a:pt x="948892" y="458635"/>
                    <a:pt x="940233" y="452923"/>
                    <a:pt x="932296" y="447211"/>
                  </a:cubicBezTo>
                  <a:cubicBezTo>
                    <a:pt x="925080" y="406513"/>
                    <a:pt x="915699" y="366530"/>
                    <a:pt x="904875" y="328688"/>
                  </a:cubicBezTo>
                  <a:cubicBezTo>
                    <a:pt x="914978" y="327260"/>
                    <a:pt x="924358" y="325118"/>
                    <a:pt x="933739" y="322976"/>
                  </a:cubicBezTo>
                  <a:cubicBezTo>
                    <a:pt x="934460" y="322976"/>
                    <a:pt x="935182" y="322976"/>
                    <a:pt x="936625" y="322262"/>
                  </a:cubicBezTo>
                  <a:close/>
                  <a:moveTo>
                    <a:pt x="407194" y="322262"/>
                  </a:moveTo>
                  <a:cubicBezTo>
                    <a:pt x="408601" y="322262"/>
                    <a:pt x="410008" y="322977"/>
                    <a:pt x="411416" y="322977"/>
                  </a:cubicBezTo>
                  <a:cubicBezTo>
                    <a:pt x="419858" y="325121"/>
                    <a:pt x="429005" y="326550"/>
                    <a:pt x="438151" y="328695"/>
                  </a:cubicBezTo>
                  <a:cubicBezTo>
                    <a:pt x="427597" y="366577"/>
                    <a:pt x="418451" y="407318"/>
                    <a:pt x="411416" y="448773"/>
                  </a:cubicBezTo>
                  <a:cubicBezTo>
                    <a:pt x="403676" y="453777"/>
                    <a:pt x="395937" y="458780"/>
                    <a:pt x="388902" y="463783"/>
                  </a:cubicBezTo>
                  <a:cubicBezTo>
                    <a:pt x="388902" y="463783"/>
                    <a:pt x="388902" y="463783"/>
                    <a:pt x="388198" y="464498"/>
                  </a:cubicBezTo>
                  <a:cubicBezTo>
                    <a:pt x="383977" y="467357"/>
                    <a:pt x="380459" y="470216"/>
                    <a:pt x="376238" y="473075"/>
                  </a:cubicBezTo>
                  <a:cubicBezTo>
                    <a:pt x="383977" y="420183"/>
                    <a:pt x="394530" y="369436"/>
                    <a:pt x="407194" y="322262"/>
                  </a:cubicBezTo>
                  <a:close/>
                  <a:moveTo>
                    <a:pt x="1045377" y="280988"/>
                  </a:moveTo>
                  <a:cubicBezTo>
                    <a:pt x="1008883" y="280988"/>
                    <a:pt x="970242" y="285265"/>
                    <a:pt x="928022" y="292392"/>
                  </a:cubicBezTo>
                  <a:cubicBezTo>
                    <a:pt x="927307" y="292392"/>
                    <a:pt x="927307" y="292392"/>
                    <a:pt x="927307" y="292392"/>
                  </a:cubicBezTo>
                  <a:cubicBezTo>
                    <a:pt x="917289" y="294530"/>
                    <a:pt x="907271" y="296669"/>
                    <a:pt x="897253" y="298807"/>
                  </a:cubicBezTo>
                  <a:cubicBezTo>
                    <a:pt x="896537" y="298807"/>
                    <a:pt x="896537" y="298807"/>
                    <a:pt x="896537" y="298807"/>
                  </a:cubicBezTo>
                  <a:cubicBezTo>
                    <a:pt x="837144" y="311637"/>
                    <a:pt x="774889" y="331594"/>
                    <a:pt x="711202" y="357966"/>
                  </a:cubicBezTo>
                  <a:cubicBezTo>
                    <a:pt x="749843" y="375785"/>
                    <a:pt x="789200" y="396454"/>
                    <a:pt x="827842" y="418550"/>
                  </a:cubicBezTo>
                  <a:cubicBezTo>
                    <a:pt x="866483" y="441358"/>
                    <a:pt x="903693" y="464879"/>
                    <a:pt x="939472" y="489113"/>
                  </a:cubicBezTo>
                  <a:cubicBezTo>
                    <a:pt x="951637" y="497666"/>
                    <a:pt x="963086" y="506219"/>
                    <a:pt x="974535" y="514772"/>
                  </a:cubicBezTo>
                  <a:cubicBezTo>
                    <a:pt x="1037506" y="561814"/>
                    <a:pt x="1094752" y="613132"/>
                    <a:pt x="1142696" y="665163"/>
                  </a:cubicBezTo>
                  <a:cubicBezTo>
                    <a:pt x="1154861" y="650908"/>
                    <a:pt x="1165594" y="636653"/>
                    <a:pt x="1176328" y="623111"/>
                  </a:cubicBezTo>
                  <a:cubicBezTo>
                    <a:pt x="1254326" y="516197"/>
                    <a:pt x="1277940" y="422826"/>
                    <a:pt x="1241446" y="360104"/>
                  </a:cubicBezTo>
                  <a:cubicBezTo>
                    <a:pt x="1222841" y="328030"/>
                    <a:pt x="1189209" y="305222"/>
                    <a:pt x="1141980" y="292392"/>
                  </a:cubicBezTo>
                  <a:cubicBezTo>
                    <a:pt x="1113357" y="284552"/>
                    <a:pt x="1080441" y="280988"/>
                    <a:pt x="1045377" y="280988"/>
                  </a:cubicBezTo>
                  <a:close/>
                  <a:moveTo>
                    <a:pt x="300177" y="280988"/>
                  </a:moveTo>
                  <a:cubicBezTo>
                    <a:pt x="265211" y="280988"/>
                    <a:pt x="232387" y="284552"/>
                    <a:pt x="203844" y="292392"/>
                  </a:cubicBezTo>
                  <a:cubicBezTo>
                    <a:pt x="156748" y="305222"/>
                    <a:pt x="123210" y="328030"/>
                    <a:pt x="104657" y="360104"/>
                  </a:cubicBezTo>
                  <a:cubicBezTo>
                    <a:pt x="68265" y="422826"/>
                    <a:pt x="91813" y="516197"/>
                    <a:pt x="169593" y="623111"/>
                  </a:cubicBezTo>
                  <a:cubicBezTo>
                    <a:pt x="180296" y="636653"/>
                    <a:pt x="191000" y="650908"/>
                    <a:pt x="203131" y="665163"/>
                  </a:cubicBezTo>
                  <a:cubicBezTo>
                    <a:pt x="250940" y="613132"/>
                    <a:pt x="308026" y="561814"/>
                    <a:pt x="371534" y="514772"/>
                  </a:cubicBezTo>
                  <a:cubicBezTo>
                    <a:pt x="382951" y="506219"/>
                    <a:pt x="394368" y="497666"/>
                    <a:pt x="406499" y="489113"/>
                  </a:cubicBezTo>
                  <a:cubicBezTo>
                    <a:pt x="441464" y="464879"/>
                    <a:pt x="478570" y="441358"/>
                    <a:pt x="517103" y="418550"/>
                  </a:cubicBezTo>
                  <a:cubicBezTo>
                    <a:pt x="555636" y="396454"/>
                    <a:pt x="594882" y="375785"/>
                    <a:pt x="633415" y="357966"/>
                  </a:cubicBezTo>
                  <a:cubicBezTo>
                    <a:pt x="569907" y="331594"/>
                    <a:pt x="507113" y="311637"/>
                    <a:pt x="447886" y="298807"/>
                  </a:cubicBezTo>
                  <a:cubicBezTo>
                    <a:pt x="447886" y="298807"/>
                    <a:pt x="447886" y="298807"/>
                    <a:pt x="447173" y="298807"/>
                  </a:cubicBezTo>
                  <a:cubicBezTo>
                    <a:pt x="437183" y="296669"/>
                    <a:pt x="427193" y="294530"/>
                    <a:pt x="417916" y="292392"/>
                  </a:cubicBezTo>
                  <a:cubicBezTo>
                    <a:pt x="417203" y="292392"/>
                    <a:pt x="417203" y="292392"/>
                    <a:pt x="416489" y="292392"/>
                  </a:cubicBezTo>
                  <a:cubicBezTo>
                    <a:pt x="375102" y="285265"/>
                    <a:pt x="335855" y="280988"/>
                    <a:pt x="300177" y="280988"/>
                  </a:cubicBezTo>
                  <a:close/>
                  <a:moveTo>
                    <a:pt x="1046113" y="249238"/>
                  </a:moveTo>
                  <a:cubicBezTo>
                    <a:pt x="1083994" y="249238"/>
                    <a:pt x="1119016" y="253525"/>
                    <a:pt x="1149749" y="262098"/>
                  </a:cubicBezTo>
                  <a:cubicBezTo>
                    <a:pt x="1205498" y="277101"/>
                    <a:pt x="1245523" y="304250"/>
                    <a:pt x="1268394" y="344259"/>
                  </a:cubicBezTo>
                  <a:cubicBezTo>
                    <a:pt x="1311278" y="418560"/>
                    <a:pt x="1287692" y="524297"/>
                    <a:pt x="1201210" y="642180"/>
                  </a:cubicBezTo>
                  <a:cubicBezTo>
                    <a:pt x="1145461" y="718625"/>
                    <a:pt x="1066840" y="794355"/>
                    <a:pt x="974640" y="863656"/>
                  </a:cubicBezTo>
                  <a:cubicBezTo>
                    <a:pt x="973925" y="863656"/>
                    <a:pt x="973925" y="863656"/>
                    <a:pt x="973925" y="863656"/>
                  </a:cubicBezTo>
                  <a:cubicBezTo>
                    <a:pt x="962490" y="872229"/>
                    <a:pt x="950339" y="880803"/>
                    <a:pt x="939618" y="889376"/>
                  </a:cubicBezTo>
                  <a:cubicBezTo>
                    <a:pt x="938904" y="889376"/>
                    <a:pt x="938904" y="889376"/>
                    <a:pt x="938904" y="889376"/>
                  </a:cubicBezTo>
                  <a:cubicBezTo>
                    <a:pt x="903167" y="913667"/>
                    <a:pt x="866001" y="937243"/>
                    <a:pt x="828120" y="960105"/>
                  </a:cubicBezTo>
                  <a:cubicBezTo>
                    <a:pt x="789525" y="982253"/>
                    <a:pt x="750215" y="1002972"/>
                    <a:pt x="711619" y="1020833"/>
                  </a:cubicBezTo>
                  <a:cubicBezTo>
                    <a:pt x="775230" y="1047267"/>
                    <a:pt x="838127" y="1066557"/>
                    <a:pt x="897449" y="1079417"/>
                  </a:cubicBezTo>
                  <a:cubicBezTo>
                    <a:pt x="908170" y="1081560"/>
                    <a:pt x="918176" y="1083703"/>
                    <a:pt x="928183" y="1085847"/>
                  </a:cubicBezTo>
                  <a:cubicBezTo>
                    <a:pt x="969637" y="1093706"/>
                    <a:pt x="1008233" y="1097992"/>
                    <a:pt x="1044684" y="1097992"/>
                  </a:cubicBezTo>
                  <a:cubicBezTo>
                    <a:pt x="1080420" y="1097992"/>
                    <a:pt x="1113298" y="1093706"/>
                    <a:pt x="1141887" y="1085847"/>
                  </a:cubicBezTo>
                  <a:cubicBezTo>
                    <a:pt x="1189059" y="1072987"/>
                    <a:pt x="1222652" y="1050839"/>
                    <a:pt x="1241235" y="1018689"/>
                  </a:cubicBezTo>
                  <a:cubicBezTo>
                    <a:pt x="1249097" y="1005115"/>
                    <a:pt x="1254100" y="990112"/>
                    <a:pt x="1256244" y="974394"/>
                  </a:cubicBezTo>
                  <a:cubicBezTo>
                    <a:pt x="1256244" y="974394"/>
                    <a:pt x="1256244" y="974394"/>
                    <a:pt x="1256959" y="974394"/>
                  </a:cubicBezTo>
                  <a:cubicBezTo>
                    <a:pt x="1256959" y="974394"/>
                    <a:pt x="1256959" y="974394"/>
                    <a:pt x="1260532" y="974394"/>
                  </a:cubicBezTo>
                  <a:cubicBezTo>
                    <a:pt x="1269824" y="974394"/>
                    <a:pt x="1279115" y="972965"/>
                    <a:pt x="1288407" y="970108"/>
                  </a:cubicBezTo>
                  <a:cubicBezTo>
                    <a:pt x="1286263" y="993684"/>
                    <a:pt x="1279830" y="1015117"/>
                    <a:pt x="1268394" y="1034407"/>
                  </a:cubicBezTo>
                  <a:cubicBezTo>
                    <a:pt x="1245523" y="1073701"/>
                    <a:pt x="1205498" y="1101564"/>
                    <a:pt x="1149749" y="1116568"/>
                  </a:cubicBezTo>
                  <a:cubicBezTo>
                    <a:pt x="1119016" y="1125141"/>
                    <a:pt x="1084709" y="1128713"/>
                    <a:pt x="1046828" y="1128713"/>
                  </a:cubicBezTo>
                  <a:cubicBezTo>
                    <a:pt x="1006803" y="1128713"/>
                    <a:pt x="963919" y="1124427"/>
                    <a:pt x="918176" y="1115853"/>
                  </a:cubicBezTo>
                  <a:cubicBezTo>
                    <a:pt x="917462" y="1115853"/>
                    <a:pt x="917462" y="1115853"/>
                    <a:pt x="917462" y="1115853"/>
                  </a:cubicBezTo>
                  <a:cubicBezTo>
                    <a:pt x="907456" y="1114424"/>
                    <a:pt x="897449" y="1112281"/>
                    <a:pt x="887443" y="1109423"/>
                  </a:cubicBezTo>
                  <a:cubicBezTo>
                    <a:pt x="886728" y="1109423"/>
                    <a:pt x="886728" y="1109423"/>
                    <a:pt x="886728" y="1109423"/>
                  </a:cubicBezTo>
                  <a:cubicBezTo>
                    <a:pt x="818114" y="1093706"/>
                    <a:pt x="745926" y="1069415"/>
                    <a:pt x="672309" y="1038694"/>
                  </a:cubicBezTo>
                  <a:cubicBezTo>
                    <a:pt x="598692" y="1069415"/>
                    <a:pt x="525789" y="1093706"/>
                    <a:pt x="457175" y="1109423"/>
                  </a:cubicBezTo>
                  <a:cubicBezTo>
                    <a:pt x="457175" y="1110138"/>
                    <a:pt x="457175" y="1110138"/>
                    <a:pt x="457175" y="1110138"/>
                  </a:cubicBezTo>
                  <a:cubicBezTo>
                    <a:pt x="446454" y="1112995"/>
                    <a:pt x="436448" y="1115139"/>
                    <a:pt x="427157" y="1115853"/>
                  </a:cubicBezTo>
                  <a:cubicBezTo>
                    <a:pt x="426442" y="1116568"/>
                    <a:pt x="426442" y="1116568"/>
                    <a:pt x="426442" y="1116568"/>
                  </a:cubicBezTo>
                  <a:cubicBezTo>
                    <a:pt x="380699" y="1125141"/>
                    <a:pt x="337101" y="1128713"/>
                    <a:pt x="297790" y="1128713"/>
                  </a:cubicBezTo>
                  <a:cubicBezTo>
                    <a:pt x="259910" y="1128713"/>
                    <a:pt x="225603" y="1125141"/>
                    <a:pt x="194869" y="1116568"/>
                  </a:cubicBezTo>
                  <a:cubicBezTo>
                    <a:pt x="139120" y="1101564"/>
                    <a:pt x="99095" y="1073701"/>
                    <a:pt x="76224" y="1034407"/>
                  </a:cubicBezTo>
                  <a:cubicBezTo>
                    <a:pt x="64788" y="1015117"/>
                    <a:pt x="58356" y="993684"/>
                    <a:pt x="56212" y="970108"/>
                  </a:cubicBezTo>
                  <a:cubicBezTo>
                    <a:pt x="66218" y="972965"/>
                    <a:pt x="76224" y="974394"/>
                    <a:pt x="85516" y="974394"/>
                  </a:cubicBezTo>
                  <a:cubicBezTo>
                    <a:pt x="85516" y="974394"/>
                    <a:pt x="85516" y="974394"/>
                    <a:pt x="86230" y="974394"/>
                  </a:cubicBezTo>
                  <a:cubicBezTo>
                    <a:pt x="86945" y="974394"/>
                    <a:pt x="87660" y="974394"/>
                    <a:pt x="88374" y="974394"/>
                  </a:cubicBezTo>
                  <a:cubicBezTo>
                    <a:pt x="90519" y="990112"/>
                    <a:pt x="96237" y="1005115"/>
                    <a:pt x="103384" y="1018689"/>
                  </a:cubicBezTo>
                  <a:cubicBezTo>
                    <a:pt x="121967" y="1050839"/>
                    <a:pt x="155559" y="1072987"/>
                    <a:pt x="202731" y="1085847"/>
                  </a:cubicBezTo>
                  <a:cubicBezTo>
                    <a:pt x="231321" y="1093706"/>
                    <a:pt x="264198" y="1097992"/>
                    <a:pt x="299220" y="1097992"/>
                  </a:cubicBezTo>
                  <a:cubicBezTo>
                    <a:pt x="335671" y="1097992"/>
                    <a:pt x="374981" y="1092991"/>
                    <a:pt x="417150" y="1085847"/>
                  </a:cubicBezTo>
                  <a:cubicBezTo>
                    <a:pt x="427157" y="1083703"/>
                    <a:pt x="436448" y="1081560"/>
                    <a:pt x="447169" y="1079417"/>
                  </a:cubicBezTo>
                  <a:cubicBezTo>
                    <a:pt x="506492" y="1066557"/>
                    <a:pt x="569388" y="1047267"/>
                    <a:pt x="632999" y="1020833"/>
                  </a:cubicBezTo>
                  <a:cubicBezTo>
                    <a:pt x="594404" y="1002972"/>
                    <a:pt x="555093" y="982253"/>
                    <a:pt x="516498" y="960105"/>
                  </a:cubicBezTo>
                  <a:cubicBezTo>
                    <a:pt x="477903" y="937243"/>
                    <a:pt x="440737" y="913667"/>
                    <a:pt x="405715" y="889376"/>
                  </a:cubicBezTo>
                  <a:cubicBezTo>
                    <a:pt x="393564" y="880803"/>
                    <a:pt x="382129" y="872229"/>
                    <a:pt x="370693" y="863656"/>
                  </a:cubicBezTo>
                  <a:cubicBezTo>
                    <a:pt x="307082" y="816503"/>
                    <a:pt x="249904" y="765063"/>
                    <a:pt x="202017" y="712909"/>
                  </a:cubicBezTo>
                  <a:cubicBezTo>
                    <a:pt x="202017" y="712909"/>
                    <a:pt x="202017" y="712909"/>
                    <a:pt x="201302" y="712909"/>
                  </a:cubicBezTo>
                  <a:cubicBezTo>
                    <a:pt x="194869" y="705051"/>
                    <a:pt x="187722" y="697192"/>
                    <a:pt x="181289" y="689333"/>
                  </a:cubicBezTo>
                  <a:cubicBezTo>
                    <a:pt x="181289" y="689333"/>
                    <a:pt x="181289" y="689333"/>
                    <a:pt x="180575" y="689333"/>
                  </a:cubicBezTo>
                  <a:cubicBezTo>
                    <a:pt x="167710" y="673615"/>
                    <a:pt x="154844" y="657898"/>
                    <a:pt x="143409" y="642180"/>
                  </a:cubicBezTo>
                  <a:cubicBezTo>
                    <a:pt x="56926" y="524297"/>
                    <a:pt x="33340" y="418560"/>
                    <a:pt x="76224" y="344259"/>
                  </a:cubicBezTo>
                  <a:cubicBezTo>
                    <a:pt x="99095" y="304250"/>
                    <a:pt x="139120" y="277101"/>
                    <a:pt x="194869" y="262098"/>
                  </a:cubicBezTo>
                  <a:cubicBezTo>
                    <a:pt x="225603" y="253525"/>
                    <a:pt x="260625" y="249953"/>
                    <a:pt x="298505" y="249953"/>
                  </a:cubicBezTo>
                  <a:cubicBezTo>
                    <a:pt x="405000" y="249953"/>
                    <a:pt x="537225" y="281388"/>
                    <a:pt x="672309" y="339972"/>
                  </a:cubicBezTo>
                  <a:cubicBezTo>
                    <a:pt x="745926" y="308537"/>
                    <a:pt x="818829" y="284246"/>
                    <a:pt x="887443" y="269242"/>
                  </a:cubicBezTo>
                  <a:cubicBezTo>
                    <a:pt x="898164" y="266385"/>
                    <a:pt x="908170" y="264241"/>
                    <a:pt x="918176" y="262812"/>
                  </a:cubicBezTo>
                  <a:cubicBezTo>
                    <a:pt x="963205" y="254239"/>
                    <a:pt x="1006803" y="249238"/>
                    <a:pt x="1046113" y="249238"/>
                  </a:cubicBezTo>
                  <a:close/>
                  <a:moveTo>
                    <a:pt x="518757" y="44451"/>
                  </a:moveTo>
                  <a:cubicBezTo>
                    <a:pt x="490247" y="44451"/>
                    <a:pt x="466726" y="68360"/>
                    <a:pt x="466726" y="98064"/>
                  </a:cubicBezTo>
                  <a:cubicBezTo>
                    <a:pt x="466726" y="127768"/>
                    <a:pt x="490247" y="152401"/>
                    <a:pt x="518757" y="152401"/>
                  </a:cubicBezTo>
                  <a:cubicBezTo>
                    <a:pt x="548693" y="152401"/>
                    <a:pt x="571501" y="127768"/>
                    <a:pt x="571501" y="98064"/>
                  </a:cubicBezTo>
                  <a:cubicBezTo>
                    <a:pt x="571501" y="68360"/>
                    <a:pt x="548693" y="44451"/>
                    <a:pt x="518757" y="44451"/>
                  </a:cubicBezTo>
                  <a:close/>
                  <a:moveTo>
                    <a:pt x="518756" y="14288"/>
                  </a:moveTo>
                  <a:cubicBezTo>
                    <a:pt x="540238" y="14288"/>
                    <a:pt x="558855" y="21388"/>
                    <a:pt x="572460" y="33459"/>
                  </a:cubicBezTo>
                  <a:cubicBezTo>
                    <a:pt x="573177" y="34169"/>
                    <a:pt x="573177" y="34169"/>
                    <a:pt x="573177" y="34169"/>
                  </a:cubicBezTo>
                  <a:cubicBezTo>
                    <a:pt x="581053" y="40559"/>
                    <a:pt x="588214" y="48369"/>
                    <a:pt x="593226" y="57599"/>
                  </a:cubicBezTo>
                  <a:cubicBezTo>
                    <a:pt x="593226" y="57599"/>
                    <a:pt x="593226" y="57599"/>
                    <a:pt x="593226" y="58309"/>
                  </a:cubicBezTo>
                  <a:cubicBezTo>
                    <a:pt x="599671" y="70380"/>
                    <a:pt x="603251" y="83870"/>
                    <a:pt x="603251" y="98071"/>
                  </a:cubicBezTo>
                  <a:cubicBezTo>
                    <a:pt x="603251" y="144222"/>
                    <a:pt x="565300" y="182563"/>
                    <a:pt x="518756" y="182563"/>
                  </a:cubicBezTo>
                  <a:cubicBezTo>
                    <a:pt x="472928" y="182563"/>
                    <a:pt x="434976" y="144222"/>
                    <a:pt x="434976" y="98071"/>
                  </a:cubicBezTo>
                  <a:cubicBezTo>
                    <a:pt x="434976" y="51919"/>
                    <a:pt x="472928" y="14288"/>
                    <a:pt x="518756" y="14288"/>
                  </a:cubicBezTo>
                  <a:close/>
                  <a:moveTo>
                    <a:pt x="672368" y="0"/>
                  </a:moveTo>
                  <a:cubicBezTo>
                    <a:pt x="758071" y="0"/>
                    <a:pt x="837346" y="73703"/>
                    <a:pt x="896624" y="206081"/>
                  </a:cubicBezTo>
                  <a:cubicBezTo>
                    <a:pt x="900195" y="215384"/>
                    <a:pt x="904480" y="223971"/>
                    <a:pt x="908051" y="233273"/>
                  </a:cubicBezTo>
                  <a:cubicBezTo>
                    <a:pt x="899481" y="234704"/>
                    <a:pt x="890911" y="236851"/>
                    <a:pt x="880912" y="238997"/>
                  </a:cubicBezTo>
                  <a:cubicBezTo>
                    <a:pt x="879484" y="239713"/>
                    <a:pt x="878055" y="239713"/>
                    <a:pt x="876627" y="239713"/>
                  </a:cubicBezTo>
                  <a:cubicBezTo>
                    <a:pt x="873770" y="232557"/>
                    <a:pt x="870913" y="225402"/>
                    <a:pt x="867342" y="218246"/>
                  </a:cubicBezTo>
                  <a:cubicBezTo>
                    <a:pt x="813778" y="98032"/>
                    <a:pt x="744501" y="31485"/>
                    <a:pt x="672368" y="31485"/>
                  </a:cubicBezTo>
                  <a:cubicBezTo>
                    <a:pt x="654513" y="31485"/>
                    <a:pt x="637373" y="35062"/>
                    <a:pt x="620946" y="42934"/>
                  </a:cubicBezTo>
                  <a:cubicBezTo>
                    <a:pt x="615233" y="33631"/>
                    <a:pt x="608805" y="25045"/>
                    <a:pt x="601663" y="17173"/>
                  </a:cubicBezTo>
                  <a:cubicBezTo>
                    <a:pt x="624517" y="5724"/>
                    <a:pt x="648086" y="0"/>
                    <a:pt x="67236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pic>
        <p:nvPicPr>
          <p:cNvPr id="2" name="Picture 1">
            <a:extLst>
              <a:ext uri="{FF2B5EF4-FFF2-40B4-BE49-F238E27FC236}">
                <a16:creationId xmlns:a16="http://schemas.microsoft.com/office/drawing/2014/main" id="{310410E7-4159-4CE9-BA52-B326A9F4EB1B}"/>
              </a:ext>
            </a:extLst>
          </p:cNvPr>
          <p:cNvPicPr>
            <a:picLocks noChangeAspect="1"/>
          </p:cNvPicPr>
          <p:nvPr/>
        </p:nvPicPr>
        <p:blipFill>
          <a:blip r:embed="rId8"/>
          <a:srcRect/>
          <a:stretch/>
        </p:blipFill>
        <p:spPr>
          <a:xfrm>
            <a:off x="7800974" y="15889"/>
            <a:ext cx="4391025" cy="6826222"/>
          </a:xfrm>
          <a:prstGeom prst="rect">
            <a:avLst/>
          </a:prstGeom>
        </p:spPr>
      </p:pic>
    </p:spTree>
    <p:custDataLst>
      <p:tags r:id="rId2"/>
    </p:custDataLst>
    <p:extLst>
      <p:ext uri="{BB962C8B-B14F-4D97-AF65-F5344CB8AC3E}">
        <p14:creationId xmlns:p14="http://schemas.microsoft.com/office/powerpoint/2010/main" val="724152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42287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5"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443198"/>
          </a:xfrm>
        </p:spPr>
        <p:txBody>
          <a:bodyPr vert="horz"/>
          <a:lstStyle/>
          <a:p>
            <a:r>
              <a:rPr lang="en-US" sz="3200" dirty="0"/>
              <a:t>Exercises</a:t>
            </a:r>
          </a:p>
        </p:txBody>
      </p:sp>
      <p:sp>
        <p:nvSpPr>
          <p:cNvPr id="8" name="TextBox 7">
            <a:extLst>
              <a:ext uri="{FF2B5EF4-FFF2-40B4-BE49-F238E27FC236}">
                <a16:creationId xmlns:a16="http://schemas.microsoft.com/office/drawing/2014/main" id="{D1126033-64CE-467A-BCBF-6935D21696B7}"/>
              </a:ext>
            </a:extLst>
          </p:cNvPr>
          <p:cNvSpPr txBox="1"/>
          <p:nvPr/>
        </p:nvSpPr>
        <p:spPr>
          <a:xfrm>
            <a:off x="630000" y="1390010"/>
            <a:ext cx="10426762" cy="4460531"/>
          </a:xfrm>
          <a:prstGeom prst="rect">
            <a:avLst/>
          </a:prstGeom>
          <a:noFill/>
          <a:ln w="10795" cap="flat" cmpd="sng" algn="ctr">
            <a:noFill/>
            <a:prstDash val="soli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0795" cap="flat" cmpd="sng" algn="ctr">
                <a:solidFill>
                  <a:schemeClr val="accent6"/>
                </a:solidFill>
                <a:prstDash val="solid"/>
              </a14:hiddenLine>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285750" indent="-285750">
              <a:buFont typeface="Arial" panose="020B0604020202020204" pitchFamily="34" charset="0"/>
              <a:buChar char="•"/>
              <a:defRPr>
                <a:solidFill>
                  <a:srgbClr val="575757"/>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a:buNone/>
            </a:pPr>
            <a:r>
              <a:rPr lang="en-US" sz="1600" dirty="0"/>
              <a:t>In this Caselet, we will be focusing on how we consume </a:t>
            </a:r>
            <a:r>
              <a:rPr lang="en-US" sz="1600" b="1" dirty="0">
                <a:solidFill>
                  <a:schemeClr val="tx2"/>
                </a:solidFill>
              </a:rPr>
              <a:t>REST API's </a:t>
            </a:r>
            <a:r>
              <a:rPr lang="en-US" sz="1600" dirty="0"/>
              <a:t>in the react application using </a:t>
            </a:r>
            <a:r>
              <a:rPr lang="en-US" sz="1600" b="1" dirty="0">
                <a:solidFill>
                  <a:schemeClr val="tx2"/>
                </a:solidFill>
              </a:rPr>
              <a:t>Redux</a:t>
            </a:r>
            <a:r>
              <a:rPr lang="en-US" sz="1600" b="1" dirty="0"/>
              <a:t> </a:t>
            </a:r>
            <a:r>
              <a:rPr lang="en-US" sz="1600" dirty="0"/>
              <a:t>and mimic and </a:t>
            </a:r>
            <a:r>
              <a:rPr lang="en-US" sz="1600" b="1" dirty="0">
                <a:solidFill>
                  <a:schemeClr val="tx2"/>
                </a:solidFill>
              </a:rPr>
              <a:t>Offline Application</a:t>
            </a:r>
            <a:r>
              <a:rPr lang="en-US" sz="1600" b="1" dirty="0"/>
              <a:t> </a:t>
            </a:r>
            <a:r>
              <a:rPr lang="en-US" sz="1600" dirty="0"/>
              <a:t>behavior.</a:t>
            </a:r>
          </a:p>
          <a:p>
            <a:pPr marL="0" indent="0">
              <a:buNone/>
            </a:pPr>
            <a:endParaRPr lang="en-US" sz="1600" dirty="0"/>
          </a:p>
          <a:p>
            <a:pPr marL="0" indent="0">
              <a:lnSpc>
                <a:spcPct val="150000"/>
              </a:lnSpc>
              <a:buNone/>
            </a:pPr>
            <a:r>
              <a:rPr lang="en-US" sz="2000" b="1" dirty="0">
                <a:solidFill>
                  <a:schemeClr val="tx2"/>
                </a:solidFill>
              </a:rPr>
              <a:t>Sub-Exercises: </a:t>
            </a:r>
            <a:endParaRPr lang="en-US" sz="2000" dirty="0"/>
          </a:p>
          <a:p>
            <a:endParaRPr lang="en-US" sz="1600" dirty="0"/>
          </a:p>
          <a:p>
            <a:pPr>
              <a:buFont typeface="Wingdings" pitchFamily="2" charset="2"/>
              <a:buChar char="§"/>
            </a:pPr>
            <a:r>
              <a:rPr lang="en-US" sz="1600" dirty="0"/>
              <a:t>First, You will have to run the backend (</a:t>
            </a:r>
            <a:r>
              <a:rPr lang="en-US" sz="1600" b="1" dirty="0">
                <a:solidFill>
                  <a:schemeClr val="tx2"/>
                </a:solidFill>
              </a:rPr>
              <a:t>Python-Flask</a:t>
            </a:r>
            <a:r>
              <a:rPr lang="en-US" sz="1600" dirty="0"/>
              <a:t> application) which we have provided along with the Caselet. To run the backend on your local, there is a </a:t>
            </a:r>
            <a:r>
              <a:rPr lang="en-US" sz="1600" b="1" dirty="0">
                <a:solidFill>
                  <a:schemeClr val="tx2"/>
                </a:solidFill>
              </a:rPr>
              <a:t>README.md</a:t>
            </a:r>
            <a:r>
              <a:rPr lang="en-US" sz="1600" b="1" dirty="0"/>
              <a:t> </a:t>
            </a:r>
            <a:r>
              <a:rPr lang="en-US" sz="1600" dirty="0"/>
              <a:t>file which you can follow and after that you can use the </a:t>
            </a:r>
            <a:r>
              <a:rPr lang="en-US" sz="1600" b="1" dirty="0">
                <a:solidFill>
                  <a:schemeClr val="tx2"/>
                </a:solidFill>
              </a:rPr>
              <a:t>REST APIs</a:t>
            </a:r>
            <a:r>
              <a:rPr lang="en-US" sz="1600" b="1" dirty="0"/>
              <a:t> </a:t>
            </a:r>
            <a:r>
              <a:rPr lang="en-US" sz="1600" dirty="0"/>
              <a:t>on the ReactJS application.</a:t>
            </a:r>
          </a:p>
          <a:p>
            <a:pPr>
              <a:buFont typeface="Wingdings" pitchFamily="2" charset="2"/>
              <a:buChar char="§"/>
            </a:pPr>
            <a:endParaRPr lang="en-US" sz="1600" dirty="0"/>
          </a:p>
          <a:p>
            <a:pPr>
              <a:buFont typeface="Wingdings" pitchFamily="2" charset="2"/>
              <a:buChar char="§"/>
            </a:pPr>
            <a:r>
              <a:rPr lang="en-US" sz="1600" dirty="0"/>
              <a:t>In order to consume APIs, ReactJS app must send any </a:t>
            </a:r>
            <a:r>
              <a:rPr lang="en-US" sz="1600" b="1" dirty="0">
                <a:solidFill>
                  <a:schemeClr val="tx2"/>
                </a:solidFill>
              </a:rPr>
              <a:t>“Dummy Token”</a:t>
            </a:r>
            <a:r>
              <a:rPr lang="en-US" sz="1600" b="1" dirty="0">
                <a:solidFill>
                  <a:schemeClr val="tx1"/>
                </a:solidFill>
              </a:rPr>
              <a:t> in </a:t>
            </a:r>
            <a:r>
              <a:rPr lang="en-US" sz="1600" b="1" dirty="0">
                <a:solidFill>
                  <a:schemeClr val="tx2"/>
                </a:solidFill>
              </a:rPr>
              <a:t>“Authorization” </a:t>
            </a:r>
            <a:r>
              <a:rPr lang="en-US" sz="1600" dirty="0"/>
              <a:t>Header. </a:t>
            </a:r>
          </a:p>
          <a:p>
            <a:pPr marL="742950" lvl="1" indent="-285750">
              <a:buFont typeface="Arial" panose="020B0604020202020204" pitchFamily="34" charset="0"/>
              <a:buChar char="•"/>
            </a:pPr>
            <a:r>
              <a:rPr lang="en-US" sz="1600" dirty="0"/>
              <a:t> </a:t>
            </a:r>
            <a:r>
              <a:rPr lang="en-US" sz="1600" dirty="0">
                <a:solidFill>
                  <a:schemeClr val="tx2"/>
                </a:solidFill>
                <a:hlinkClick r:id="rId7">
                  <a:extLst>
                    <a:ext uri="{A12FA001-AC4F-418D-AE19-62706E023703}">
                      <ahyp:hlinkClr xmlns:ahyp="http://schemas.microsoft.com/office/drawing/2018/hyperlinkcolor" val="tx"/>
                    </a:ext>
                  </a:extLst>
                </a:hlinkClick>
              </a:rPr>
              <a:t>Reference Link-1</a:t>
            </a:r>
            <a:endParaRPr lang="en-US" sz="1600" dirty="0">
              <a:solidFill>
                <a:schemeClr val="tx2"/>
              </a:solidFill>
            </a:endParaRPr>
          </a:p>
          <a:p>
            <a:pPr marL="742950" lvl="1" indent="-285750">
              <a:buFont typeface="Arial" panose="020B0604020202020204" pitchFamily="34" charset="0"/>
              <a:buChar char="•"/>
            </a:pPr>
            <a:r>
              <a:rPr lang="en-US" sz="1600" dirty="0">
                <a:solidFill>
                  <a:schemeClr val="tx1"/>
                </a:solidFill>
              </a:rPr>
              <a:t> </a:t>
            </a:r>
            <a:r>
              <a:rPr lang="en-US" sz="1600" dirty="0">
                <a:solidFill>
                  <a:schemeClr val="tx2"/>
                </a:solidFill>
                <a:hlinkClick r:id="rId8">
                  <a:extLst>
                    <a:ext uri="{A12FA001-AC4F-418D-AE19-62706E023703}">
                      <ahyp:hlinkClr xmlns:ahyp="http://schemas.microsoft.com/office/drawing/2018/hyperlinkcolor" val="tx"/>
                    </a:ext>
                  </a:extLst>
                </a:hlinkClick>
              </a:rPr>
              <a:t>Reference Link-2</a:t>
            </a:r>
            <a:endParaRPr lang="en-US" sz="1600" dirty="0">
              <a:solidFill>
                <a:schemeClr val="tx1"/>
              </a:solidFill>
            </a:endParaRPr>
          </a:p>
          <a:p>
            <a:pPr>
              <a:buFont typeface="Wingdings" pitchFamily="2" charset="2"/>
              <a:buChar char="§"/>
            </a:pPr>
            <a:endParaRPr lang="en-US" sz="1600" dirty="0"/>
          </a:p>
          <a:p>
            <a:pPr>
              <a:buFont typeface="Wingdings" pitchFamily="2" charset="2"/>
              <a:buChar char="§"/>
            </a:pPr>
            <a:r>
              <a:rPr lang="en-US" sz="1600" dirty="0"/>
              <a:t>While consuming APIs in application, ensure proper </a:t>
            </a:r>
            <a:r>
              <a:rPr lang="en-US" sz="1600" b="1" dirty="0">
                <a:solidFill>
                  <a:schemeClr val="tx2"/>
                </a:solidFill>
              </a:rPr>
              <a:t>“Error Handling”</a:t>
            </a:r>
            <a:r>
              <a:rPr lang="en-US" sz="1600" dirty="0"/>
              <a:t>. </a:t>
            </a:r>
          </a:p>
          <a:p>
            <a:pPr marL="742950" lvl="1" indent="-285750">
              <a:buFont typeface="Arial" panose="020B0604020202020204" pitchFamily="34" charset="0"/>
              <a:buChar char="•"/>
            </a:pPr>
            <a:r>
              <a:rPr lang="en-US" sz="1600" dirty="0"/>
              <a:t>If you are not getting data from the API's so  in that case, you will have to take the dummy data from the </a:t>
            </a:r>
            <a:r>
              <a:rPr lang="en-US" sz="1600" b="1" dirty="0">
                <a:solidFill>
                  <a:schemeClr val="tx2"/>
                </a:solidFill>
              </a:rPr>
              <a:t>“Redux”</a:t>
            </a:r>
            <a:r>
              <a:rPr lang="en-US" sz="1600" b="1" dirty="0"/>
              <a:t> </a:t>
            </a:r>
            <a:r>
              <a:rPr lang="en-US" sz="1600" dirty="0"/>
              <a:t>store which you have saved.</a:t>
            </a:r>
          </a:p>
          <a:p>
            <a:pPr marL="742950" lvl="1" indent="-285750">
              <a:buFont typeface="Arial" panose="020B0604020202020204" pitchFamily="34" charset="0"/>
              <a:buChar char="•"/>
            </a:pPr>
            <a:r>
              <a:rPr lang="en-US" sz="1600" dirty="0"/>
              <a:t>If APIs are returning data, continue on building the screens given in the following exercises.</a:t>
            </a:r>
          </a:p>
          <a:p>
            <a:pPr marL="0" indent="0">
              <a:lnSpc>
                <a:spcPct val="150000"/>
              </a:lnSpc>
              <a:buNone/>
            </a:pPr>
            <a:endParaRPr lang="en-US" sz="1600" dirty="0"/>
          </a:p>
          <a:p>
            <a:pPr marL="0" indent="0">
              <a:buNone/>
            </a:pPr>
            <a:endParaRPr lang="en-US" sz="1600" dirty="0"/>
          </a:p>
        </p:txBody>
      </p:sp>
    </p:spTree>
    <p:extLst>
      <p:ext uri="{BB962C8B-B14F-4D97-AF65-F5344CB8AC3E}">
        <p14:creationId xmlns:p14="http://schemas.microsoft.com/office/powerpoint/2010/main" val="133004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2636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443198"/>
          </a:xfrm>
        </p:spPr>
        <p:txBody>
          <a:bodyPr vert="horz"/>
          <a:lstStyle/>
          <a:p>
            <a:r>
              <a:rPr lang="en-US" sz="3200" dirty="0"/>
              <a:t>Exercise (1a) </a:t>
            </a:r>
          </a:p>
        </p:txBody>
      </p:sp>
      <p:sp>
        <p:nvSpPr>
          <p:cNvPr id="8" name="TextBox 7">
            <a:extLst>
              <a:ext uri="{FF2B5EF4-FFF2-40B4-BE49-F238E27FC236}">
                <a16:creationId xmlns:a16="http://schemas.microsoft.com/office/drawing/2014/main" id="{D1126033-64CE-467A-BCBF-6935D21696B7}"/>
              </a:ext>
            </a:extLst>
          </p:cNvPr>
          <p:cNvSpPr txBox="1"/>
          <p:nvPr/>
        </p:nvSpPr>
        <p:spPr>
          <a:xfrm>
            <a:off x="851483" y="1316764"/>
            <a:ext cx="10205279" cy="1950747"/>
          </a:xfrm>
          <a:prstGeom prst="rect">
            <a:avLst/>
          </a:prstGeom>
          <a:noFill/>
          <a:ln w="10795" cap="flat" cmpd="sng" algn="ctr">
            <a:noFill/>
            <a:prstDash val="soli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0795" cap="flat" cmpd="sng" algn="ctr">
                <a:solidFill>
                  <a:schemeClr val="accent6"/>
                </a:solidFill>
                <a:prstDash val="solid"/>
              </a14:hiddenLine>
            </a:ext>
          </a:ex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285750" indent="-285750">
              <a:buFont typeface="Arial" panose="020B0604020202020204" pitchFamily="34" charset="0"/>
              <a:buChar char="•"/>
              <a:defRPr>
                <a:solidFill>
                  <a:srgbClr val="575757"/>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a:buNone/>
            </a:pPr>
            <a:r>
              <a:rPr lang="en-US" dirty="0"/>
              <a:t>F</a:t>
            </a:r>
            <a:r>
              <a:rPr lang="en-US" sz="1600" dirty="0"/>
              <a:t>ollowing is the home screen of the tool which shows navigation items to go to:</a:t>
            </a:r>
          </a:p>
          <a:p>
            <a:endParaRPr lang="en-US" sz="1600" dirty="0"/>
          </a:p>
          <a:p>
            <a:r>
              <a:rPr lang="en-US" sz="1600" dirty="0"/>
              <a:t>Calendar Optimization screen</a:t>
            </a:r>
          </a:p>
          <a:p>
            <a:r>
              <a:rPr lang="en-US" sz="1600" dirty="0"/>
              <a:t>Post event analysis screen</a:t>
            </a:r>
          </a:p>
          <a:p>
            <a:endParaRPr lang="en-US" sz="1600" dirty="0"/>
          </a:p>
          <a:p>
            <a:pPr marL="0" indent="0">
              <a:buNone/>
            </a:pPr>
            <a:r>
              <a:rPr lang="en-US" sz="1600" b="1" dirty="0"/>
              <a:t>Here, we will be focusing on the routing concepts of the React.</a:t>
            </a:r>
          </a:p>
          <a:p>
            <a:endParaRPr lang="en-US" dirty="0"/>
          </a:p>
        </p:txBody>
      </p:sp>
      <p:pic>
        <p:nvPicPr>
          <p:cNvPr id="49" name="Picture 48">
            <a:extLst>
              <a:ext uri="{FF2B5EF4-FFF2-40B4-BE49-F238E27FC236}">
                <a16:creationId xmlns:a16="http://schemas.microsoft.com/office/drawing/2014/main" id="{2218F97A-C357-40C2-AB8F-2C48F8242A01}"/>
              </a:ext>
            </a:extLst>
          </p:cNvPr>
          <p:cNvPicPr/>
          <p:nvPr/>
        </p:nvPicPr>
        <p:blipFill>
          <a:blip r:embed="rId7"/>
          <a:stretch>
            <a:fillRect/>
          </a:stretch>
        </p:blipFill>
        <p:spPr>
          <a:xfrm>
            <a:off x="2437415" y="2919210"/>
            <a:ext cx="7033413" cy="3599036"/>
          </a:xfrm>
          <a:prstGeom prst="rect">
            <a:avLst/>
          </a:prstGeom>
        </p:spPr>
      </p:pic>
    </p:spTree>
    <p:extLst>
      <p:ext uri="{BB962C8B-B14F-4D97-AF65-F5344CB8AC3E}">
        <p14:creationId xmlns:p14="http://schemas.microsoft.com/office/powerpoint/2010/main" val="2139066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95A9E3-2ABD-42B4-913E-C10771C1542E}"/>
              </a:ext>
            </a:extLst>
          </p:cNvPr>
          <p:cNvGraphicFramePr>
            <a:graphicFrameLocks noChangeAspect="1"/>
          </p:cNvGraphicFramePr>
          <p:nvPr>
            <p:custDataLst>
              <p:tags r:id="rId2"/>
            </p:custDataLst>
            <p:extLst>
              <p:ext uri="{D42A27DB-BD31-4B8C-83A1-F6EECF244321}">
                <p14:modId xmlns:p14="http://schemas.microsoft.com/office/powerpoint/2010/main" val="124871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3" name="think-cell Slide" r:id="rId4" imgW="532" imgH="533" progId="TCLayout.ActiveDocument.1">
                  <p:embed/>
                </p:oleObj>
              </mc:Choice>
              <mc:Fallback>
                <p:oleObj name="think-cell Slid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752740-E70E-4939-8914-563A2EBB45A7}"/>
              </a:ext>
            </a:extLst>
          </p:cNvPr>
          <p:cNvSpPr>
            <a:spLocks noGrp="1"/>
          </p:cNvSpPr>
          <p:nvPr>
            <p:ph type="title"/>
          </p:nvPr>
        </p:nvSpPr>
        <p:spPr>
          <a:xfrm>
            <a:off x="557868" y="622800"/>
            <a:ext cx="11005482" cy="443198"/>
          </a:xfrm>
        </p:spPr>
        <p:txBody>
          <a:bodyPr vert="horz"/>
          <a:lstStyle/>
          <a:p>
            <a:r>
              <a:rPr lang="en-US" dirty="0"/>
              <a:t> </a:t>
            </a:r>
            <a:r>
              <a:rPr lang="en-US" sz="3200" dirty="0"/>
              <a:t>Exercise (1b)</a:t>
            </a:r>
          </a:p>
        </p:txBody>
      </p:sp>
      <p:sp>
        <p:nvSpPr>
          <p:cNvPr id="7" name="TextBox 6">
            <a:extLst>
              <a:ext uri="{FF2B5EF4-FFF2-40B4-BE49-F238E27FC236}">
                <a16:creationId xmlns:a16="http://schemas.microsoft.com/office/drawing/2014/main" id="{3C821035-D5F3-4CBF-8F34-BB06D10AC872}"/>
              </a:ext>
            </a:extLst>
          </p:cNvPr>
          <p:cNvSpPr txBox="1"/>
          <p:nvPr/>
        </p:nvSpPr>
        <p:spPr>
          <a:xfrm>
            <a:off x="2092187" y="660952"/>
            <a:ext cx="45719" cy="894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sp>
        <p:nvSpPr>
          <p:cNvPr id="8" name="TextBox 7">
            <a:extLst>
              <a:ext uri="{FF2B5EF4-FFF2-40B4-BE49-F238E27FC236}">
                <a16:creationId xmlns:a16="http://schemas.microsoft.com/office/drawing/2014/main" id="{33CF79D6-7781-4EED-B0B6-33A6BFB11E13}"/>
              </a:ext>
            </a:extLst>
          </p:cNvPr>
          <p:cNvSpPr txBox="1"/>
          <p:nvPr/>
        </p:nvSpPr>
        <p:spPr>
          <a:xfrm>
            <a:off x="5637971" y="297180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sp>
        <p:nvSpPr>
          <p:cNvPr id="16" name="TextBox 15">
            <a:extLst>
              <a:ext uri="{FF2B5EF4-FFF2-40B4-BE49-F238E27FC236}">
                <a16:creationId xmlns:a16="http://schemas.microsoft.com/office/drawing/2014/main" id="{5D99D564-5A45-4653-AC53-568FD09D96AE}"/>
              </a:ext>
            </a:extLst>
          </p:cNvPr>
          <p:cNvSpPr txBox="1"/>
          <p:nvPr/>
        </p:nvSpPr>
        <p:spPr>
          <a:xfrm>
            <a:off x="918593" y="1267868"/>
            <a:ext cx="10104541" cy="1755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ea typeface="+mj-ea"/>
                <a:cs typeface="+mj-cs"/>
                <a:sym typeface="Trebuchet MS" panose="020B0603020202020204" pitchFamily="34" charset="0"/>
              </a:rPr>
              <a:t>Calendar Optimization View</a:t>
            </a:r>
          </a:p>
          <a:p>
            <a:endParaRPr lang="en-US" dirty="0">
              <a:solidFill>
                <a:srgbClr val="575757"/>
              </a:solidFill>
            </a:endParaRPr>
          </a:p>
          <a:p>
            <a:r>
              <a:rPr lang="en-US" sz="1600" dirty="0">
                <a:solidFill>
                  <a:srgbClr val="575757"/>
                </a:solidFill>
              </a:rPr>
              <a:t>On this screen, user can view all optimized calendars and can add a new calendar by clicking on +New Calendar button. </a:t>
            </a:r>
          </a:p>
          <a:p>
            <a:endParaRPr lang="en-US" sz="1600" dirty="0">
              <a:solidFill>
                <a:srgbClr val="575757"/>
              </a:solidFill>
            </a:endParaRPr>
          </a:p>
          <a:p>
            <a:r>
              <a:rPr lang="en-US" sz="1600" b="1" dirty="0">
                <a:solidFill>
                  <a:srgbClr val="575757"/>
                </a:solidFill>
              </a:rPr>
              <a:t>Here, we will be focusing on creating tables and adding new entity in the table by clicking on add new calendar button</a:t>
            </a:r>
          </a:p>
        </p:txBody>
      </p:sp>
      <p:pic>
        <p:nvPicPr>
          <p:cNvPr id="18" name="Picture 17">
            <a:extLst>
              <a:ext uri="{FF2B5EF4-FFF2-40B4-BE49-F238E27FC236}">
                <a16:creationId xmlns:a16="http://schemas.microsoft.com/office/drawing/2014/main" id="{0CE02E68-1297-4874-A1B4-21C7F31652AB}"/>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2659121" y="3100268"/>
            <a:ext cx="6873758" cy="3370121"/>
          </a:xfrm>
          <a:prstGeom prst="rect">
            <a:avLst/>
          </a:prstGeom>
        </p:spPr>
      </p:pic>
    </p:spTree>
    <p:extLst>
      <p:ext uri="{BB962C8B-B14F-4D97-AF65-F5344CB8AC3E}">
        <p14:creationId xmlns:p14="http://schemas.microsoft.com/office/powerpoint/2010/main" val="284570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6F662C-B459-4BB2-AB7E-C6C89CB30279}"/>
              </a:ext>
            </a:extLst>
          </p:cNvPr>
          <p:cNvGraphicFramePr>
            <a:graphicFrameLocks noChangeAspect="1"/>
          </p:cNvGraphicFramePr>
          <p:nvPr>
            <p:custDataLst>
              <p:tags r:id="rId2"/>
            </p:custDataLst>
            <p:extLst>
              <p:ext uri="{D42A27DB-BD31-4B8C-83A1-F6EECF244321}">
                <p14:modId xmlns:p14="http://schemas.microsoft.com/office/powerpoint/2010/main" val="246297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7" name="think-cell Slide" r:id="rId4" imgW="532" imgH="533" progId="TCLayout.ActiveDocument.1">
                  <p:embed/>
                </p:oleObj>
              </mc:Choice>
              <mc:Fallback>
                <p:oleObj name="think-cell Slid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92149F-4960-4F6C-A4FE-B9392FAAC2B6}"/>
              </a:ext>
            </a:extLst>
          </p:cNvPr>
          <p:cNvSpPr>
            <a:spLocks noGrp="1"/>
          </p:cNvSpPr>
          <p:nvPr>
            <p:ph type="title"/>
          </p:nvPr>
        </p:nvSpPr>
        <p:spPr>
          <a:xfrm>
            <a:off x="650147" y="622800"/>
            <a:ext cx="10913203" cy="443198"/>
          </a:xfrm>
        </p:spPr>
        <p:txBody>
          <a:bodyPr vert="horz"/>
          <a:lstStyle/>
          <a:p>
            <a:r>
              <a:rPr lang="en-US" sz="3200" dirty="0"/>
              <a:t>Exercise</a:t>
            </a:r>
            <a:r>
              <a:rPr lang="en-US" dirty="0"/>
              <a:t> (1c)</a:t>
            </a:r>
          </a:p>
        </p:txBody>
      </p:sp>
      <p:pic>
        <p:nvPicPr>
          <p:cNvPr id="13" name="Picture 12">
            <a:extLst>
              <a:ext uri="{FF2B5EF4-FFF2-40B4-BE49-F238E27FC236}">
                <a16:creationId xmlns:a16="http://schemas.microsoft.com/office/drawing/2014/main" id="{E626DFB4-E3BB-40F9-96C2-FB1E6555BC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6018910" y="1405156"/>
            <a:ext cx="4979057" cy="4490290"/>
          </a:xfrm>
          <a:prstGeom prst="rect">
            <a:avLst/>
          </a:prstGeom>
        </p:spPr>
      </p:pic>
      <p:sp>
        <p:nvSpPr>
          <p:cNvPr id="23" name="TextBox 22">
            <a:extLst>
              <a:ext uri="{FF2B5EF4-FFF2-40B4-BE49-F238E27FC236}">
                <a16:creationId xmlns:a16="http://schemas.microsoft.com/office/drawing/2014/main" id="{F439135F-9361-4D95-BE62-D83DB21747C5}"/>
              </a:ext>
            </a:extLst>
          </p:cNvPr>
          <p:cNvSpPr txBox="1"/>
          <p:nvPr/>
        </p:nvSpPr>
        <p:spPr>
          <a:xfrm>
            <a:off x="801148" y="1405156"/>
            <a:ext cx="5020811" cy="4490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29BA74"/>
                </a:solidFill>
                <a:sym typeface="Trebuchet MS" panose="020B0603020202020204" pitchFamily="34" charset="0"/>
              </a:rPr>
              <a:t>Add New Calendar</a:t>
            </a:r>
            <a:endParaRPr lang="en-US" dirty="0">
              <a:solidFill>
                <a:srgbClr val="575757"/>
              </a:solidFill>
            </a:endParaRPr>
          </a:p>
          <a:p>
            <a:endParaRPr lang="en-US" dirty="0">
              <a:solidFill>
                <a:srgbClr val="575757"/>
              </a:solidFill>
            </a:endParaRPr>
          </a:p>
          <a:p>
            <a:r>
              <a:rPr lang="en-US" dirty="0">
                <a:solidFill>
                  <a:srgbClr val="575757"/>
                </a:solidFill>
              </a:rPr>
              <a:t>This popup is used to add a new calendar</a:t>
            </a:r>
            <a:endParaRPr lang="en-US" b="1" dirty="0">
              <a:solidFill>
                <a:srgbClr val="575757"/>
              </a:solidFill>
            </a:endParaRPr>
          </a:p>
          <a:p>
            <a:endParaRPr lang="en-US" b="1" dirty="0">
              <a:solidFill>
                <a:srgbClr val="575757"/>
              </a:solidFill>
            </a:endParaRPr>
          </a:p>
          <a:p>
            <a:r>
              <a:rPr lang="en-US" b="1" dirty="0">
                <a:solidFill>
                  <a:srgbClr val="575757"/>
                </a:solidFill>
              </a:rPr>
              <a:t>Here, we will be focusing on adding modal dialogs/ pop-up screens.</a:t>
            </a:r>
          </a:p>
          <a:p>
            <a:pPr algn="ctr"/>
            <a:endParaRPr lang="en-US" dirty="0">
              <a:solidFill>
                <a:srgbClr val="575757"/>
              </a:solidFill>
            </a:endParaRPr>
          </a:p>
        </p:txBody>
      </p:sp>
    </p:spTree>
    <p:extLst>
      <p:ext uri="{BB962C8B-B14F-4D97-AF65-F5344CB8AC3E}">
        <p14:creationId xmlns:p14="http://schemas.microsoft.com/office/powerpoint/2010/main" val="1521591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1848F-01CD-4708-ABC9-2C5271F96B2F}"/>
              </a:ext>
            </a:extLst>
          </p:cNvPr>
          <p:cNvGraphicFramePr>
            <a:graphicFrameLocks noChangeAspect="1"/>
          </p:cNvGraphicFramePr>
          <p:nvPr>
            <p:custDataLst>
              <p:tags r:id="rId2"/>
            </p:custDataLst>
            <p:extLst>
              <p:ext uri="{D42A27DB-BD31-4B8C-83A1-F6EECF244321}">
                <p14:modId xmlns:p14="http://schemas.microsoft.com/office/powerpoint/2010/main" val="1901009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1" name="think-cell Slide" r:id="rId4" imgW="532" imgH="533" progId="TCLayout.ActiveDocument.1">
                  <p:embed/>
                </p:oleObj>
              </mc:Choice>
              <mc:Fallback>
                <p:oleObj name="think-cell Slide" r:id="rId4" imgW="532" imgH="533" progId="TCLayout.ActiveDocument.1">
                  <p:embed/>
                  <p:pic>
                    <p:nvPicPr>
                      <p:cNvPr id="3" name="Object 2" hidden="1">
                        <a:extLst>
                          <a:ext uri="{FF2B5EF4-FFF2-40B4-BE49-F238E27FC236}">
                            <a16:creationId xmlns:a16="http://schemas.microsoft.com/office/drawing/2014/main" id="{C181848F-01CD-4708-ABC9-2C5271F96B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2E80DB-C1F1-4A53-AD23-AC1EADEDC957}"/>
              </a:ext>
            </a:extLst>
          </p:cNvPr>
          <p:cNvSpPr>
            <a:spLocks noGrp="1"/>
          </p:cNvSpPr>
          <p:nvPr>
            <p:ph type="title"/>
          </p:nvPr>
        </p:nvSpPr>
        <p:spPr>
          <a:xfrm>
            <a:off x="732352" y="622800"/>
            <a:ext cx="10830998" cy="443198"/>
          </a:xfrm>
        </p:spPr>
        <p:txBody>
          <a:bodyPr vert="horz"/>
          <a:lstStyle/>
          <a:p>
            <a:r>
              <a:rPr lang="en-US" sz="3200" dirty="0"/>
              <a:t>Exercise (1d)</a:t>
            </a:r>
          </a:p>
        </p:txBody>
      </p:sp>
      <p:sp>
        <p:nvSpPr>
          <p:cNvPr id="6" name="TextBox 5">
            <a:extLst>
              <a:ext uri="{FF2B5EF4-FFF2-40B4-BE49-F238E27FC236}">
                <a16:creationId xmlns:a16="http://schemas.microsoft.com/office/drawing/2014/main" id="{7E76FDCC-83CB-4672-B92C-EEBAFC545E5A}"/>
              </a:ext>
            </a:extLst>
          </p:cNvPr>
          <p:cNvSpPr txBox="1"/>
          <p:nvPr/>
        </p:nvSpPr>
        <p:spPr>
          <a:xfrm>
            <a:off x="1132514" y="1241572"/>
            <a:ext cx="9966121" cy="19126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b="1" dirty="0">
              <a:solidFill>
                <a:srgbClr val="575757"/>
              </a:solidFill>
            </a:endParaRPr>
          </a:p>
          <a:p>
            <a:endParaRPr lang="en-US" sz="1600" dirty="0">
              <a:solidFill>
                <a:srgbClr val="575757"/>
              </a:solidFill>
            </a:endParaRPr>
          </a:p>
          <a:p>
            <a:r>
              <a:rPr lang="en-US" dirty="0">
                <a:solidFill>
                  <a:srgbClr val="29BA74"/>
                </a:solidFill>
                <a:ea typeface="+mj-ea"/>
                <a:cs typeface="+mj-cs"/>
                <a:sym typeface="Trebuchet MS" panose="020B0603020202020204" pitchFamily="34" charset="0"/>
              </a:rPr>
              <a:t>Analysis View</a:t>
            </a:r>
          </a:p>
          <a:p>
            <a:endParaRPr lang="en-US" dirty="0">
              <a:solidFill>
                <a:srgbClr val="575757"/>
              </a:solidFill>
            </a:endParaRPr>
          </a:p>
          <a:p>
            <a:r>
              <a:rPr lang="en-US" sz="1600" dirty="0">
                <a:solidFill>
                  <a:srgbClr val="575757"/>
                </a:solidFill>
              </a:rPr>
              <a:t>On this screen we have the functionality to filter promo events based on retailer, category, brand and a product and see analysis Efficiency Matrix Tab.</a:t>
            </a:r>
          </a:p>
          <a:p>
            <a:endParaRPr lang="en-US" sz="1600" dirty="0">
              <a:solidFill>
                <a:srgbClr val="575757"/>
              </a:solidFill>
            </a:endParaRPr>
          </a:p>
          <a:p>
            <a:r>
              <a:rPr lang="en-US" sz="1600" b="1" dirty="0">
                <a:solidFill>
                  <a:srgbClr val="575757"/>
                </a:solidFill>
              </a:rPr>
              <a:t>Here, we will be focusing on populating data into table and visualization part using graphs.</a:t>
            </a:r>
            <a:endParaRPr kumimoji="0" lang="en-US" sz="1600" b="1"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pic>
        <p:nvPicPr>
          <p:cNvPr id="7" name="Picture 6">
            <a:extLst>
              <a:ext uri="{FF2B5EF4-FFF2-40B4-BE49-F238E27FC236}">
                <a16:creationId xmlns:a16="http://schemas.microsoft.com/office/drawing/2014/main" id="{804A5241-5586-4880-9298-453ED790F93B}"/>
              </a:ext>
            </a:extLst>
          </p:cNvPr>
          <p:cNvPicPr>
            <a:picLocks noChangeAspect="1"/>
          </p:cNvPicPr>
          <p:nvPr/>
        </p:nvPicPr>
        <p:blipFill>
          <a:blip r:embed="rId6"/>
          <a:stretch>
            <a:fillRect/>
          </a:stretch>
        </p:blipFill>
        <p:spPr>
          <a:xfrm>
            <a:off x="2894997" y="3238150"/>
            <a:ext cx="6441154" cy="3127867"/>
          </a:xfrm>
          <a:prstGeom prst="rect">
            <a:avLst/>
          </a:prstGeom>
        </p:spPr>
      </p:pic>
    </p:spTree>
    <p:extLst>
      <p:ext uri="{BB962C8B-B14F-4D97-AF65-F5344CB8AC3E}">
        <p14:creationId xmlns:p14="http://schemas.microsoft.com/office/powerpoint/2010/main" val="4287003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rtdkBSCQ4uLfcJtagTN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HhJUkk_RcmxnPh2xo6T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O7Gi65FQQCPwQCotQvYgQ"/>
</p:tagLst>
</file>

<file path=ppt/tags/tag159.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pNaDBqmQQGDr2VdWjbM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3pNaDBqmQQGDr2VdWjbM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fo4Bh_gTeyOADuYzfFS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we7rgEDVKXvNQWswNu2F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5.xml><?xml version="1.0" encoding="utf-8"?>
<a:theme xmlns:a="http://schemas.openxmlformats.org/drawingml/2006/main" name="4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4030</TotalTime>
  <Words>1283</Words>
  <Application>Microsoft Macintosh PowerPoint</Application>
  <PresentationFormat>Widescreen</PresentationFormat>
  <Paragraphs>207</Paragraphs>
  <Slides>16</Slides>
  <Notes>5</Notes>
  <HiddenSlides>0</HiddenSlides>
  <MMClips>0</MMClips>
  <ScaleCrop>false</ScaleCrop>
  <HeadingPairs>
    <vt:vector size="10"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6" baseType="lpstr">
      <vt:lpstr>Arial</vt:lpstr>
      <vt:lpstr>Trebuchet MS</vt:lpstr>
      <vt:lpstr>Wingdings</vt:lpstr>
      <vt:lpstr>BCG Grid 16:9</vt:lpstr>
      <vt:lpstr>1_BCG Grid 16:9</vt:lpstr>
      <vt:lpstr>2_BCG Grid 16:9</vt:lpstr>
      <vt:lpstr>3_BCG Grid 16:9</vt:lpstr>
      <vt:lpstr>4_BCG Grid 16:9</vt:lpstr>
      <vt:lpstr>think-cell Slide</vt:lpstr>
      <vt:lpstr>Retail Promotion Management System</vt:lpstr>
      <vt:lpstr>Introduction </vt:lpstr>
      <vt:lpstr>Prerequisite knowledge on few techniques and familiarity with domain solicited</vt:lpstr>
      <vt:lpstr>PowerPoint Presentation</vt:lpstr>
      <vt:lpstr>Exercises</vt:lpstr>
      <vt:lpstr>Exercise (1a) </vt:lpstr>
      <vt:lpstr> Exercise (1b)</vt:lpstr>
      <vt:lpstr>Exercise (1c)</vt:lpstr>
      <vt:lpstr>Exercise (1d)</vt:lpstr>
      <vt:lpstr>Exercise (1e)</vt:lpstr>
      <vt:lpstr>Datasets available</vt:lpstr>
      <vt:lpstr>Best Practices</vt:lpstr>
      <vt:lpstr>Contacts</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dhyala, Katyayani</dc:creator>
  <cp:lastModifiedBy>Gauniyal, Rakesh</cp:lastModifiedBy>
  <cp:revision>259</cp:revision>
  <cp:lastPrinted>2016-04-06T18:59:25Z</cp:lastPrinted>
  <dcterms:created xsi:type="dcterms:W3CDTF">2019-11-14T09:57:04Z</dcterms:created>
  <dcterms:modified xsi:type="dcterms:W3CDTF">2021-09-30T12:4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821955</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